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0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1.xml" ContentType="application/vnd.openxmlformats-officedocument.theme+xml"/>
  <Override PartName="/ppt/tags/tag9.xml" ContentType="application/vnd.openxmlformats-officedocument.presentationml.tags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12.xml" ContentType="application/vnd.openxmlformats-officedocument.theme+xml"/>
  <Override PartName="/ppt/tags/tag10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heme/theme13.xml" ContentType="application/vnd.openxmlformats-officedocument.theme+xml"/>
  <Override PartName="/ppt/tags/tag11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16.xml" ContentType="application/vnd.openxmlformats-officedocument.theme+xml"/>
  <Override PartName="/ppt/tags/tag14.xml" ContentType="application/vnd.openxmlformats-officedocument.presentationml.tags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theme/theme17.xml" ContentType="application/vnd.openxmlformats-officedocument.theme+xml"/>
  <Override PartName="/ppt/tags/tag15.xml" ContentType="application/vnd.openxmlformats-officedocument.presentationml.tags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theme/theme18.xml" ContentType="application/vnd.openxmlformats-officedocument.theme+xml"/>
  <Override PartName="/ppt/tags/tag16.xml" ContentType="application/vnd.openxmlformats-officedocument.presentationml.tags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19.xml" ContentType="application/vnd.openxmlformats-officedocument.theme+xml"/>
  <Override PartName="/ppt/tags/tag17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theme/theme20.xml" ContentType="application/vnd.openxmlformats-officedocument.theme+xml"/>
  <Override PartName="/ppt/tags/tag18.xml" ContentType="application/vnd.openxmlformats-officedocument.presentationml.tags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theme/theme21.xml" ContentType="application/vnd.openxmlformats-officedocument.theme+xml"/>
  <Override PartName="/ppt/tags/tag19.xml" ContentType="application/vnd.openxmlformats-officedocument.presentationml.tags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theme/theme22.xml" ContentType="application/vnd.openxmlformats-officedocument.theme+xml"/>
  <Override PartName="/ppt/tags/tag20.xml" ContentType="application/vnd.openxmlformats-officedocument.presentationml.tags+xml"/>
  <Override PartName="/ppt/theme/theme23.xml" ContentType="application/vnd.openxmlformats-officedocument.theme+xml"/>
  <Override PartName="/ppt/tags/tag21.xml" ContentType="application/vnd.openxmlformats-officedocument.presentationml.tags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24.xml" ContentType="application/vnd.openxmlformats-officedocument.theme+xml"/>
  <Override PartName="/ppt/tags/tag22.xml" ContentType="application/vnd.openxmlformats-officedocument.presentationml.tags+xml"/>
  <Override PartName="/ppt/theme/theme25.xml" ContentType="application/vnd.openxmlformats-officedocument.theme+xml"/>
  <Override PartName="/ppt/tags/tag23.xml" ContentType="application/vnd.openxmlformats-officedocument.presentationml.tags+xml"/>
  <Override PartName="/ppt/theme/theme26.xml" ContentType="application/vnd.openxmlformats-officedocument.theme+xml"/>
  <Override PartName="/ppt/tags/tag24.xml" ContentType="application/vnd.openxmlformats-officedocument.presentationml.tags+xml"/>
  <Override PartName="/ppt/theme/theme27.xml" ContentType="application/vnd.openxmlformats-officedocument.theme+xml"/>
  <Override PartName="/ppt/tags/tag25.xml" ContentType="application/vnd.openxmlformats-officedocument.presentationml.tags+xml"/>
  <Override PartName="/ppt/theme/theme28.xml" ContentType="application/vnd.openxmlformats-officedocument.theme+xml"/>
  <Override PartName="/ppt/tags/tag26.xml" ContentType="application/vnd.openxmlformats-officedocument.presentationml.tags+xml"/>
  <Override PartName="/ppt/theme/theme29.xml" ContentType="application/vnd.openxmlformats-officedocument.theme+xml"/>
  <Override PartName="/ppt/tags/tag27.xml" ContentType="application/vnd.openxmlformats-officedocument.presentationml.tags+xml"/>
  <Override PartName="/ppt/theme/theme30.xml" ContentType="application/vnd.openxmlformats-officedocument.theme+xml"/>
  <Override PartName="/ppt/tags/tag28.xml" ContentType="application/vnd.openxmlformats-officedocument.presentationml.tags+xml"/>
  <Override PartName="/ppt/theme/theme31.xml" ContentType="application/vnd.openxmlformats-officedocument.theme+xml"/>
  <Override PartName="/ppt/tags/tag29.xml" ContentType="application/vnd.openxmlformats-officedocument.presentationml.tags+xml"/>
  <Override PartName="/ppt/theme/theme32.xml" ContentType="application/vnd.openxmlformats-officedocument.theme+xml"/>
  <Override PartName="/ppt/tags/tag30.xml" ContentType="application/vnd.openxmlformats-officedocument.presentationml.tags+xml"/>
  <Override PartName="/ppt/theme/theme33.xml" ContentType="application/vnd.openxmlformats-officedocument.theme+xml"/>
  <Override PartName="/ppt/tags/tag31.xml" ContentType="application/vnd.openxmlformats-officedocument.presentationml.tags+xml"/>
  <Override PartName="/ppt/theme/theme34.xml" ContentType="application/vnd.openxmlformats-officedocument.theme+xml"/>
  <Override PartName="/ppt/theme/theme3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4021" r:id="rId4"/>
    <p:sldMasterId id="2147484056" r:id="rId5"/>
    <p:sldMasterId id="2147484006" r:id="rId6"/>
    <p:sldMasterId id="2147484141" r:id="rId7"/>
    <p:sldMasterId id="2147484155" r:id="rId8"/>
    <p:sldMasterId id="2147484170" r:id="rId9"/>
    <p:sldMasterId id="2147484185" r:id="rId10"/>
    <p:sldMasterId id="2147484205" r:id="rId11"/>
    <p:sldMasterId id="2147484225" r:id="rId12"/>
    <p:sldMasterId id="2147484245" r:id="rId13"/>
    <p:sldMasterId id="2147484258" r:id="rId14"/>
    <p:sldMasterId id="2147484273" r:id="rId15"/>
    <p:sldMasterId id="2147484287" r:id="rId16"/>
    <p:sldMasterId id="2147484302" r:id="rId17"/>
    <p:sldMasterId id="2147484317" r:id="rId18"/>
    <p:sldMasterId id="2147484340" r:id="rId19"/>
    <p:sldMasterId id="2147484384" r:id="rId20"/>
    <p:sldMasterId id="2147484363" r:id="rId21"/>
    <p:sldMasterId id="2147484405" r:id="rId22"/>
    <p:sldMasterId id="2147484419" r:id="rId23"/>
    <p:sldMasterId id="2147484435" r:id="rId24"/>
    <p:sldMasterId id="2147484451" r:id="rId25"/>
    <p:sldMasterId id="2147484465" r:id="rId26"/>
    <p:sldMasterId id="2147484468" r:id="rId27"/>
    <p:sldMasterId id="2147484470" r:id="rId28"/>
    <p:sldMasterId id="2147484472" r:id="rId29"/>
    <p:sldMasterId id="2147484474" r:id="rId30"/>
    <p:sldMasterId id="2147484476" r:id="rId31"/>
    <p:sldMasterId id="2147484478" r:id="rId32"/>
    <p:sldMasterId id="2147484480" r:id="rId33"/>
    <p:sldMasterId id="2147484482" r:id="rId34"/>
    <p:sldMasterId id="2147484484" r:id="rId35"/>
    <p:sldMasterId id="2147484486" r:id="rId36"/>
  </p:sldMasterIdLst>
  <p:notesMasterIdLst>
    <p:notesMasterId r:id="rId39"/>
  </p:notesMasterIdLst>
  <p:handoutMasterIdLst>
    <p:handoutMasterId r:id="rId40"/>
  </p:handoutMasterIdLst>
  <p:sldIdLst>
    <p:sldId id="714" r:id="rId37"/>
    <p:sldId id="717" r:id="rId38"/>
  </p:sldIdLst>
  <p:sldSz cx="9144000" cy="5143500" type="screen16x9"/>
  <p:notesSz cx="6950075" cy="9236075"/>
  <p:embeddedFontLst>
    <p:embeddedFont>
      <p:font typeface="Segoe UI" pitchFamily="34" charset="0"/>
      <p:regular r:id="rId41"/>
      <p:bold r:id="rId42"/>
      <p:italic r:id="rId43"/>
      <p:boldItalic r:id="rId44"/>
    </p:embeddedFont>
  </p:embeddedFont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2"/>
        </a:solidFill>
        <a:latin typeface="Arial" charset="0"/>
        <a:ea typeface="+mn-ea"/>
        <a:cs typeface="+mn-cs"/>
      </a:defRPr>
    </a:lvl1pPr>
    <a:lvl2pPr marL="408173" algn="l" rtl="0" eaLnBrk="0" fontAlgn="base" hangingPunct="0">
      <a:spcBef>
        <a:spcPct val="0"/>
      </a:spcBef>
      <a:spcAft>
        <a:spcPct val="0"/>
      </a:spcAft>
      <a:defRPr kern="1200">
        <a:solidFill>
          <a:schemeClr val="tx2"/>
        </a:solidFill>
        <a:latin typeface="Arial" charset="0"/>
        <a:ea typeface="+mn-ea"/>
        <a:cs typeface="+mn-cs"/>
      </a:defRPr>
    </a:lvl2pPr>
    <a:lvl3pPr marL="816347" algn="l" rtl="0" eaLnBrk="0" fontAlgn="base" hangingPunct="0">
      <a:spcBef>
        <a:spcPct val="0"/>
      </a:spcBef>
      <a:spcAft>
        <a:spcPct val="0"/>
      </a:spcAft>
      <a:defRPr kern="1200">
        <a:solidFill>
          <a:schemeClr val="tx2"/>
        </a:solidFill>
        <a:latin typeface="Arial" charset="0"/>
        <a:ea typeface="+mn-ea"/>
        <a:cs typeface="+mn-cs"/>
      </a:defRPr>
    </a:lvl3pPr>
    <a:lvl4pPr marL="1224521" algn="l" rtl="0" eaLnBrk="0" fontAlgn="base" hangingPunct="0">
      <a:spcBef>
        <a:spcPct val="0"/>
      </a:spcBef>
      <a:spcAft>
        <a:spcPct val="0"/>
      </a:spcAft>
      <a:defRPr kern="1200">
        <a:solidFill>
          <a:schemeClr val="tx2"/>
        </a:solidFill>
        <a:latin typeface="Arial" charset="0"/>
        <a:ea typeface="+mn-ea"/>
        <a:cs typeface="+mn-cs"/>
      </a:defRPr>
    </a:lvl4pPr>
    <a:lvl5pPr marL="1632694" algn="l" rtl="0" eaLnBrk="0" fontAlgn="base" hangingPunct="0">
      <a:spcBef>
        <a:spcPct val="0"/>
      </a:spcBef>
      <a:spcAft>
        <a:spcPct val="0"/>
      </a:spcAft>
      <a:defRPr kern="1200">
        <a:solidFill>
          <a:schemeClr val="tx2"/>
        </a:solidFill>
        <a:latin typeface="Arial" charset="0"/>
        <a:ea typeface="+mn-ea"/>
        <a:cs typeface="+mn-cs"/>
      </a:defRPr>
    </a:lvl5pPr>
    <a:lvl6pPr marL="2040868" algn="l" defTabSz="816347" rtl="0" eaLnBrk="1" latinLnBrk="0" hangingPunct="1">
      <a:defRPr kern="1200">
        <a:solidFill>
          <a:schemeClr val="tx2"/>
        </a:solidFill>
        <a:latin typeface="Arial" charset="0"/>
        <a:ea typeface="+mn-ea"/>
        <a:cs typeface="+mn-cs"/>
      </a:defRPr>
    </a:lvl6pPr>
    <a:lvl7pPr marL="2449041" algn="l" defTabSz="816347" rtl="0" eaLnBrk="1" latinLnBrk="0" hangingPunct="1">
      <a:defRPr kern="1200">
        <a:solidFill>
          <a:schemeClr val="tx2"/>
        </a:solidFill>
        <a:latin typeface="Arial" charset="0"/>
        <a:ea typeface="+mn-ea"/>
        <a:cs typeface="+mn-cs"/>
      </a:defRPr>
    </a:lvl7pPr>
    <a:lvl8pPr marL="2857214" algn="l" defTabSz="816347" rtl="0" eaLnBrk="1" latinLnBrk="0" hangingPunct="1">
      <a:defRPr kern="1200">
        <a:solidFill>
          <a:schemeClr val="tx2"/>
        </a:solidFill>
        <a:latin typeface="Arial" charset="0"/>
        <a:ea typeface="+mn-ea"/>
        <a:cs typeface="+mn-cs"/>
      </a:defRPr>
    </a:lvl8pPr>
    <a:lvl9pPr marL="3265388" algn="l" defTabSz="816347" rtl="0" eaLnBrk="1" latinLnBrk="0" hangingPunct="1">
      <a:defRPr kern="1200">
        <a:solidFill>
          <a:schemeClr val="tx2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09">
          <p15:clr>
            <a:srgbClr val="A4A3A4"/>
          </p15:clr>
        </p15:guide>
        <p15:guide id="2" pos="218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1F71"/>
    <a:srgbClr val="FA9B00"/>
    <a:srgbClr val="0066B2"/>
    <a:srgbClr val="5C5C5C"/>
    <a:srgbClr val="F4CA12"/>
    <a:srgbClr val="DEDEDE"/>
    <a:srgbClr val="EF8400"/>
    <a:srgbClr val="00B050"/>
    <a:srgbClr val="008AF1"/>
    <a:srgbClr val="1A1E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5044" autoAdjust="0"/>
    <p:restoredTop sz="93254" autoAdjust="0"/>
  </p:normalViewPr>
  <p:slideViewPr>
    <p:cSldViewPr>
      <p:cViewPr>
        <p:scale>
          <a:sx n="166" d="100"/>
          <a:sy n="166" d="100"/>
        </p:scale>
        <p:origin x="-102" y="-3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60" d="100"/>
        <a:sy n="160" d="100"/>
      </p:scale>
      <p:origin x="0" y="8820"/>
    </p:cViewPr>
  </p:sorterViewPr>
  <p:notesViewPr>
    <p:cSldViewPr>
      <p:cViewPr varScale="1">
        <p:scale>
          <a:sx n="55" d="100"/>
          <a:sy n="55" d="100"/>
        </p:scale>
        <p:origin x="2862" y="90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font" Target="fonts/font2.fntdata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" Target="slides/slide2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font" Target="fonts/font1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" Target="slides/slide1.xml"/><Relationship Id="rId40" Type="http://schemas.openxmlformats.org/officeDocument/2006/relationships/handoutMaster" Target="handoutMasters/handoutMaster1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font" Target="fonts/font4.fntdata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font" Target="fonts/font3.fntdata"/><Relationship Id="rId4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772853"/>
            <a:ext cx="3011385" cy="461647"/>
          </a:xfrm>
          <a:prstGeom prst="rect">
            <a:avLst/>
          </a:prstGeom>
        </p:spPr>
        <p:txBody>
          <a:bodyPr vert="horz" lIns="90644" tIns="45321" rIns="90644" bIns="45321" rtlCol="0" anchor="b"/>
          <a:lstStyle>
            <a:lvl1pPr algn="l">
              <a:defRPr sz="1200"/>
            </a:lvl1pPr>
          </a:lstStyle>
          <a:p>
            <a:endParaRPr lang="en-US">
              <a:solidFill>
                <a:schemeClr val="bg2"/>
              </a:solidFill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7121" y="8772853"/>
            <a:ext cx="3011385" cy="461647"/>
          </a:xfrm>
          <a:prstGeom prst="rect">
            <a:avLst/>
          </a:prstGeom>
        </p:spPr>
        <p:txBody>
          <a:bodyPr vert="horz" lIns="90644" tIns="45321" rIns="90644" bIns="45321" rtlCol="0" anchor="b"/>
          <a:lstStyle>
            <a:lvl1pPr algn="r">
              <a:defRPr sz="1200"/>
            </a:lvl1pPr>
          </a:lstStyle>
          <a:p>
            <a:fld id="{AE85B949-8125-4784-80AD-E193E8FC35E6}" type="slidenum">
              <a:rPr lang="en-US" smtClean="0">
                <a:solidFill>
                  <a:schemeClr val="bg2"/>
                </a:solidFill>
                <a:latin typeface="+mn-lt"/>
              </a:rPr>
              <a:t>‹#›</a:t>
            </a:fld>
            <a:endParaRPr lang="en-US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647373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3738"/>
            <a:ext cx="6153150" cy="34623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44" tIns="45321" rIns="90644" bIns="4532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4695" y="4386427"/>
            <a:ext cx="5560689" cy="4156391"/>
          </a:xfrm>
          <a:prstGeom prst="rect">
            <a:avLst/>
          </a:prstGeom>
        </p:spPr>
        <p:txBody>
          <a:bodyPr vert="horz" lIns="90644" tIns="45321" rIns="90644" bIns="45321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7121" y="8772853"/>
            <a:ext cx="3011385" cy="461647"/>
          </a:xfrm>
          <a:prstGeom prst="rect">
            <a:avLst/>
          </a:prstGeom>
        </p:spPr>
        <p:txBody>
          <a:bodyPr vert="horz" lIns="90644" tIns="45321" rIns="90644" bIns="45321" rtlCol="0" anchor="b"/>
          <a:lstStyle>
            <a:lvl1pPr algn="r"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fld id="{6753247F-A630-441B-B542-D4D3E6FAE13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53723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1588" y="4313238"/>
            <a:ext cx="6951663" cy="3911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>
          <a:xfrm>
            <a:off x="3937127" y="8772855"/>
            <a:ext cx="3011385" cy="461647"/>
          </a:xfrm>
          <a:prstGeom prst="rect">
            <a:avLst/>
          </a:prstGeom>
        </p:spPr>
        <p:txBody>
          <a:bodyPr lIns="90644" tIns="45321" rIns="90644" bIns="45321"/>
          <a:lstStyle/>
          <a:p>
            <a:fld id="{E728204D-FC58-4A59-A2D3-ED4EB93B9725}" type="slidenum">
              <a:rPr lang="en-US" smtClean="0">
                <a:solidFill>
                  <a:srgbClr val="1A1F71"/>
                </a:solidFill>
              </a:rPr>
              <a:pPr/>
              <a:t>1</a:t>
            </a:fld>
            <a:endParaRPr lang="en-US" dirty="0">
              <a:solidFill>
                <a:srgbClr val="1A1F7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583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937128" y="8772855"/>
            <a:ext cx="3011385" cy="461647"/>
          </a:xfrm>
          <a:prstGeom prst="rect">
            <a:avLst/>
          </a:prstGeom>
        </p:spPr>
        <p:txBody>
          <a:bodyPr lIns="90639" tIns="45318" rIns="90639" bIns="45318"/>
          <a:lstStyle/>
          <a:p>
            <a:fld id="{D9E2925D-9625-4F23-A7FA-93F502455C2F}" type="slidenum">
              <a:rPr lang="en-US" smtClean="0">
                <a:solidFill>
                  <a:srgbClr val="1A1F71"/>
                </a:solidFill>
              </a:rPr>
              <a:pPr/>
              <a:t>2</a:t>
            </a:fld>
            <a:endParaRPr lang="en-US" dirty="0">
              <a:solidFill>
                <a:srgbClr val="1A1F71"/>
              </a:solidFill>
            </a:endParaRPr>
          </a:p>
        </p:txBody>
      </p:sp>
      <p:sp>
        <p:nvSpPr>
          <p:cNvPr id="10" name="Slide Image Placeholder 9"/>
          <p:cNvSpPr>
            <a:spLocks noGrp="1" noRot="1" noChangeAspect="1"/>
          </p:cNvSpPr>
          <p:nvPr>
            <p:ph type="sldImg"/>
          </p:nvPr>
        </p:nvSpPr>
        <p:spPr>
          <a:xfrm>
            <a:off x="0" y="4389438"/>
            <a:ext cx="6907213" cy="3886200"/>
          </a:xfrm>
        </p:spPr>
      </p:sp>
      <p:sp>
        <p:nvSpPr>
          <p:cNvPr id="11" name="Notes Placeholder 10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0548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3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3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4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6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6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6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9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9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0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0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0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0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0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1.xml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1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2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2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2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2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2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4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193453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241191" y="3137517"/>
            <a:ext cx="3797409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432497"/>
            <a:ext cx="3800856" cy="2492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93" name="Group 92"/>
            <p:cNvGrpSpPr/>
            <p:nvPr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100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1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2" name="Rectangle 101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97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8" name="Rectangle 97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9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95" name="Rectangle 21"/>
            <p:cNvSpPr>
              <a:spLocks noChangeArrowheads="1"/>
            </p:cNvSpPr>
            <p:nvPr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96" name="Rectangle 21"/>
            <p:cNvSpPr>
              <a:spLocks noChangeArrowheads="1"/>
            </p:cNvSpPr>
            <p:nvPr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107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lvl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229508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1"/>
          </p:nvPr>
        </p:nvSpPr>
        <p:spPr>
          <a:xfrm>
            <a:off x="2895600" y="1397021"/>
            <a:ext cx="609600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81979" y="184370"/>
            <a:ext cx="610962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881980" y="982951"/>
            <a:ext cx="610962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black">
          <a:xfrm>
            <a:off x="560256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black">
          <a:xfrm>
            <a:off x="3036414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| 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883066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64668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193453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241191" y="3137517"/>
            <a:ext cx="3797409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432497"/>
            <a:ext cx="3800856" cy="2492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93" name="Group 92"/>
            <p:cNvGrpSpPr/>
            <p:nvPr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100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1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2" name="Rectangle 101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97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8" name="Rectangle 97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9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95" name="Rectangle 21"/>
            <p:cNvSpPr>
              <a:spLocks noChangeArrowheads="1"/>
            </p:cNvSpPr>
            <p:nvPr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96" name="Rectangle 21"/>
            <p:cNvSpPr>
              <a:spLocks noChangeArrowheads="1"/>
            </p:cNvSpPr>
            <p:nvPr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107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1629809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37744" y="1060704"/>
            <a:ext cx="4151376" cy="767390"/>
          </a:xfrm>
        </p:spPr>
        <p:txBody>
          <a:bodyPr/>
          <a:lstStyle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4151376" cy="775597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Rectangle 21"/>
          <p:cNvSpPr>
            <a:spLocks noChangeArrowheads="1"/>
          </p:cNvSpPr>
          <p:nvPr userDrawn="1"/>
        </p:nvSpPr>
        <p:spPr bwMode="auto">
          <a:xfrm>
            <a:off x="4419600" y="2432533"/>
            <a:ext cx="2094330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4" name="Rectangle 21"/>
          <p:cNvSpPr>
            <a:spLocks noChangeArrowheads="1"/>
          </p:cNvSpPr>
          <p:nvPr userDrawn="1"/>
        </p:nvSpPr>
        <p:spPr bwMode="auto">
          <a:xfrm>
            <a:off x="6172200" y="1318509"/>
            <a:ext cx="2547518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7871155" y="1546283"/>
            <a:ext cx="1278331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7" name="Rectangle 21"/>
          <p:cNvSpPr>
            <a:spLocks noChangeArrowheads="1"/>
          </p:cNvSpPr>
          <p:nvPr userDrawn="1"/>
        </p:nvSpPr>
        <p:spPr bwMode="auto">
          <a:xfrm>
            <a:off x="7871155" y="1546284"/>
            <a:ext cx="848563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8" name="Rectangle 21"/>
          <p:cNvSpPr>
            <a:spLocks noChangeArrowheads="1"/>
          </p:cNvSpPr>
          <p:nvPr userDrawn="1"/>
        </p:nvSpPr>
        <p:spPr bwMode="auto">
          <a:xfrm>
            <a:off x="5326076" y="3540418"/>
            <a:ext cx="2547518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6882385" y="3319352"/>
            <a:ext cx="1837333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30" name="Rectangle 21"/>
          <p:cNvSpPr>
            <a:spLocks noChangeArrowheads="1"/>
          </p:cNvSpPr>
          <p:nvPr userDrawn="1"/>
        </p:nvSpPr>
        <p:spPr bwMode="auto">
          <a:xfrm>
            <a:off x="6882385" y="3547127"/>
            <a:ext cx="991209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051108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7011" y="347727"/>
            <a:ext cx="6217920" cy="689420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7011" y="1207805"/>
            <a:ext cx="6217920" cy="249299"/>
          </a:xfrm>
          <a:effectLst/>
        </p:spPr>
        <p:txBody>
          <a:bodyPr wrap="square">
            <a:no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2269731"/>
            <a:ext cx="1789530" cy="581598"/>
          </a:xfrm>
          <a:prstGeom prst="rect">
            <a:avLst/>
          </a:prstGeom>
        </p:spPr>
      </p:pic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7011" y="1502785"/>
            <a:ext cx="6217920" cy="249299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90307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Large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1363" y="3982969"/>
            <a:ext cx="6227064" cy="261610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1363" y="4364093"/>
            <a:ext cx="6227064" cy="166199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1363" y="4539151"/>
            <a:ext cx="6227064" cy="1661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84635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Special Quot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2" y="2511851"/>
            <a:ext cx="6007208" cy="332399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00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34200" y="4183323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9949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88055618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85542878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397021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982951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52622575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86753557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1"/>
          </p:nvPr>
        </p:nvSpPr>
        <p:spPr>
          <a:xfrm>
            <a:off x="2895600" y="1397021"/>
            <a:ext cx="609600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81979" y="184370"/>
            <a:ext cx="610962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881980" y="982951"/>
            <a:ext cx="610962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black">
          <a:xfrm>
            <a:off x="560256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black">
          <a:xfrm>
            <a:off x="3036414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883066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89268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37743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54879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241192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4754879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2470590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37743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54879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241192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4754879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051973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237743" y="1060704"/>
            <a:ext cx="4150581" cy="767390"/>
          </a:xfrm>
        </p:spPr>
        <p:txBody>
          <a:bodyPr wrap="square">
            <a:spAutoFit/>
          </a:bodyPr>
          <a:lstStyle>
            <a:lvl1pPr>
              <a:defRPr sz="1800"/>
            </a:lvl1pPr>
            <a:lvl2pPr>
              <a:defRPr sz="1600"/>
            </a:lvl2pPr>
            <a:lvl3pPr marL="658368" indent="-173736"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754879" y="1060704"/>
            <a:ext cx="4150581" cy="7673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28419239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690872" y="2155460"/>
            <a:ext cx="4343400" cy="837152"/>
          </a:xfrm>
          <a:effectLst/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gray">
          <a:xfrm>
            <a:off x="4835680" y="4962527"/>
            <a:ext cx="251132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4367618" y="4962527"/>
            <a:ext cx="399143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gray">
          <a:xfrm>
            <a:off x="7162800" y="4962527"/>
            <a:ext cx="9144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4650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2286000"/>
            <a:ext cx="8686800" cy="523220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9831262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2286000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51230333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Gradient Quote Slide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ltGray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10039"/>
            <a:ext cx="8686800" cy="55778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3408583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Gradient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9144000" cy="35433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24149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4401161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205496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6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46" name="Group 45"/>
            <p:cNvGrpSpPr/>
            <p:nvPr userDrawn="1"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47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8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9" name="Rectangle 48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51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2" name="Rectangle 51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3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55" name="Rectangle 21"/>
            <p:cNvSpPr>
              <a:spLocks noChangeArrowheads="1"/>
            </p:cNvSpPr>
            <p:nvPr userDrawn="1"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6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7" name="Rectangle 21"/>
            <p:cNvSpPr>
              <a:spLocks noChangeArrowheads="1"/>
            </p:cNvSpPr>
            <p:nvPr userDrawn="1"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929500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8811744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193453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241191" y="3137517"/>
            <a:ext cx="3797409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432497"/>
            <a:ext cx="3800856" cy="2492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93" name="Group 92"/>
            <p:cNvGrpSpPr/>
            <p:nvPr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100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1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2" name="Rectangle 101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97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8" name="Rectangle 97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9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95" name="Rectangle 21"/>
            <p:cNvSpPr>
              <a:spLocks noChangeArrowheads="1"/>
            </p:cNvSpPr>
            <p:nvPr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96" name="Rectangle 21"/>
            <p:cNvSpPr>
              <a:spLocks noChangeArrowheads="1"/>
            </p:cNvSpPr>
            <p:nvPr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107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06659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237743" y="1060704"/>
            <a:ext cx="4150581" cy="767390"/>
          </a:xfrm>
        </p:spPr>
        <p:txBody>
          <a:bodyPr wrap="square">
            <a:spAutoFit/>
          </a:bodyPr>
          <a:lstStyle>
            <a:lvl1pPr>
              <a:defRPr sz="1800"/>
            </a:lvl1pPr>
            <a:lvl2pPr>
              <a:defRPr sz="1600"/>
            </a:lvl2pPr>
            <a:lvl3pPr marL="658368" indent="-173736"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754879" y="1060704"/>
            <a:ext cx="4150581" cy="7673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306578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37744" y="1060704"/>
            <a:ext cx="4151376" cy="767390"/>
          </a:xfrm>
        </p:spPr>
        <p:txBody>
          <a:bodyPr/>
          <a:lstStyle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4151376" cy="775597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Rectangle 21"/>
          <p:cNvSpPr>
            <a:spLocks noChangeArrowheads="1"/>
          </p:cNvSpPr>
          <p:nvPr userDrawn="1"/>
        </p:nvSpPr>
        <p:spPr bwMode="auto">
          <a:xfrm>
            <a:off x="4419600" y="2432533"/>
            <a:ext cx="2094330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4" name="Rectangle 21"/>
          <p:cNvSpPr>
            <a:spLocks noChangeArrowheads="1"/>
          </p:cNvSpPr>
          <p:nvPr userDrawn="1"/>
        </p:nvSpPr>
        <p:spPr bwMode="auto">
          <a:xfrm>
            <a:off x="6172200" y="1318509"/>
            <a:ext cx="2547518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7871155" y="1546283"/>
            <a:ext cx="1278331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7" name="Rectangle 21"/>
          <p:cNvSpPr>
            <a:spLocks noChangeArrowheads="1"/>
          </p:cNvSpPr>
          <p:nvPr userDrawn="1"/>
        </p:nvSpPr>
        <p:spPr bwMode="auto">
          <a:xfrm>
            <a:off x="7871155" y="1546284"/>
            <a:ext cx="848563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8" name="Rectangle 21"/>
          <p:cNvSpPr>
            <a:spLocks noChangeArrowheads="1"/>
          </p:cNvSpPr>
          <p:nvPr userDrawn="1"/>
        </p:nvSpPr>
        <p:spPr bwMode="auto">
          <a:xfrm>
            <a:off x="5326076" y="3540418"/>
            <a:ext cx="2547518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6882385" y="3319352"/>
            <a:ext cx="1837333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30" name="Rectangle 21"/>
          <p:cNvSpPr>
            <a:spLocks noChangeArrowheads="1"/>
          </p:cNvSpPr>
          <p:nvPr userDrawn="1"/>
        </p:nvSpPr>
        <p:spPr bwMode="auto">
          <a:xfrm>
            <a:off x="6882385" y="3547127"/>
            <a:ext cx="991209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42304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7011" y="347727"/>
            <a:ext cx="6217920" cy="689420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7011" y="1207805"/>
            <a:ext cx="6217920" cy="249299"/>
          </a:xfrm>
          <a:effectLst/>
        </p:spPr>
        <p:txBody>
          <a:bodyPr wrap="square">
            <a:no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2269731"/>
            <a:ext cx="1789530" cy="581598"/>
          </a:xfrm>
          <a:prstGeom prst="rect">
            <a:avLst/>
          </a:prstGeom>
        </p:spPr>
      </p:pic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7011" y="1502785"/>
            <a:ext cx="6217920" cy="249299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247232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Large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1363" y="3982969"/>
            <a:ext cx="6227064" cy="261610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1363" y="4364093"/>
            <a:ext cx="6227064" cy="166199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1363" y="4539151"/>
            <a:ext cx="6227064" cy="1661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55012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Special Quot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2" y="2511851"/>
            <a:ext cx="6007208" cy="332399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00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34200" y="4183323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21801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617184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46548610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397021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982951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17034030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14833816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1"/>
          </p:nvPr>
        </p:nvSpPr>
        <p:spPr>
          <a:xfrm>
            <a:off x="2895600" y="1397021"/>
            <a:ext cx="609600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81979" y="184370"/>
            <a:ext cx="610962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881980" y="982951"/>
            <a:ext cx="610962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black">
          <a:xfrm>
            <a:off x="560256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black">
          <a:xfrm>
            <a:off x="3036414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883066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90803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37743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54879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241192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4754879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1077213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690872" y="2155460"/>
            <a:ext cx="4343400" cy="837152"/>
          </a:xfrm>
          <a:effectLst/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gray">
          <a:xfrm>
            <a:off x="4835680" y="4962527"/>
            <a:ext cx="251132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| 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4367618" y="4962527"/>
            <a:ext cx="399143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r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gray">
          <a:xfrm>
            <a:off x="7162800" y="4962527"/>
            <a:ext cx="9144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7603706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237743" y="1060704"/>
            <a:ext cx="4150581" cy="767390"/>
          </a:xfrm>
        </p:spPr>
        <p:txBody>
          <a:bodyPr wrap="square">
            <a:spAutoFit/>
          </a:bodyPr>
          <a:lstStyle>
            <a:lvl1pPr>
              <a:defRPr sz="1800"/>
            </a:lvl1pPr>
            <a:lvl2pPr>
              <a:defRPr sz="1600"/>
            </a:lvl2pPr>
            <a:lvl3pPr marL="658368" indent="-173736"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754879" y="1060704"/>
            <a:ext cx="4150581" cy="7673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33210959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690872" y="2155460"/>
            <a:ext cx="4343400" cy="837152"/>
          </a:xfrm>
          <a:effectLst/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gray">
          <a:xfrm>
            <a:off x="4835680" y="4962527"/>
            <a:ext cx="251132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4367618" y="4962527"/>
            <a:ext cx="399143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gray">
          <a:xfrm>
            <a:off x="7162800" y="4962527"/>
            <a:ext cx="9144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69546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2286000"/>
            <a:ext cx="8686800" cy="523220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09365472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2286000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91490151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Gradient Quote Slide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ltGray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10039"/>
            <a:ext cx="8686800" cy="55778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49429235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Gradient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9144000" cy="35433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24149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70516884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205496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6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46" name="Group 45"/>
            <p:cNvGrpSpPr/>
            <p:nvPr userDrawn="1"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47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8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9" name="Rectangle 48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51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2" name="Rectangle 51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3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55" name="Rectangle 21"/>
            <p:cNvSpPr>
              <a:spLocks noChangeArrowheads="1"/>
            </p:cNvSpPr>
            <p:nvPr userDrawn="1"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6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7" name="Rectangle 21"/>
            <p:cNvSpPr>
              <a:spLocks noChangeArrowheads="1"/>
            </p:cNvSpPr>
            <p:nvPr userDrawn="1"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210911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54063759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No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192" y="292894"/>
            <a:ext cx="7510065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93"/>
          <a:stretch/>
        </p:blipFill>
        <p:spPr>
          <a:xfrm>
            <a:off x="8321151" y="164912"/>
            <a:ext cx="682770" cy="283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826795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192" y="292894"/>
            <a:ext cx="7510065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3" y="1197864"/>
            <a:ext cx="8430387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93"/>
          <a:stretch/>
        </p:blipFill>
        <p:spPr>
          <a:xfrm>
            <a:off x="8321151" y="164912"/>
            <a:ext cx="682770" cy="283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71513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2286000"/>
            <a:ext cx="8686800" cy="523220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9360787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head and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192" y="292894"/>
            <a:ext cx="7510065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241193" y="1660955"/>
            <a:ext cx="8430387" cy="892552"/>
          </a:xfrm>
        </p:spPr>
        <p:txBody>
          <a:bodyPr/>
          <a:lstStyle>
            <a:lvl1pPr>
              <a:spcBef>
                <a:spcPts val="1000"/>
              </a:spcBef>
              <a:buClr>
                <a:schemeClr val="bg2"/>
              </a:buClr>
              <a:defRPr sz="1600">
                <a:solidFill>
                  <a:schemeClr val="bg2"/>
                </a:solidFill>
                <a:latin typeface="+mn-lt"/>
              </a:defRPr>
            </a:lvl1pPr>
            <a:lvl2pPr marL="460375" indent="-233363">
              <a:spcBef>
                <a:spcPts val="600"/>
              </a:spcBef>
              <a:defRPr sz="1600">
                <a:solidFill>
                  <a:schemeClr val="bg2"/>
                </a:solidFill>
                <a:latin typeface="+mn-lt"/>
              </a:defRPr>
            </a:lvl2pPr>
            <a:lvl3pPr marL="628650" indent="-168275">
              <a:spcBef>
                <a:spcPts val="600"/>
              </a:spcBef>
              <a:defRPr sz="1600">
                <a:solidFill>
                  <a:schemeClr val="bg2"/>
                </a:solidFill>
                <a:latin typeface="+mn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3" y="1197864"/>
            <a:ext cx="8430387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93"/>
          <a:stretch/>
        </p:blipFill>
        <p:spPr>
          <a:xfrm>
            <a:off x="8321151" y="164912"/>
            <a:ext cx="682770" cy="283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54529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93"/>
          <a:stretch/>
        </p:blipFill>
        <p:spPr>
          <a:xfrm>
            <a:off x="8321151" y="164912"/>
            <a:ext cx="682770" cy="283464"/>
          </a:xfrm>
          <a:prstGeom prst="rect">
            <a:avLst/>
          </a:prstGeom>
        </p:spPr>
      </p:pic>
      <p:sp>
        <p:nvSpPr>
          <p:cNvPr id="8" name="Rectangle 4"/>
          <p:cNvSpPr>
            <a:spLocks noGrp="1" noChangeArrowheads="1"/>
          </p:cNvSpPr>
          <p:nvPr>
            <p:ph idx="1"/>
          </p:nvPr>
        </p:nvSpPr>
        <p:spPr bwMode="gray">
          <a:xfrm>
            <a:off x="237743" y="1092764"/>
            <a:ext cx="843076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title"/>
          </p:nvPr>
        </p:nvSpPr>
        <p:spPr bwMode="black">
          <a:xfrm>
            <a:off x="237744" y="292894"/>
            <a:ext cx="7513389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70030588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 and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292894"/>
            <a:ext cx="4572000" cy="886397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237744" y="1660955"/>
            <a:ext cx="4572000" cy="1093633"/>
          </a:xfrm>
        </p:spPr>
        <p:txBody>
          <a:bodyPr/>
          <a:lstStyle>
            <a:lvl1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  <a:latin typeface="+mn-lt"/>
              </a:defRPr>
            </a:lvl1pPr>
            <a:lvl2pPr marL="460375" indent="-233363">
              <a:defRPr sz="2200">
                <a:solidFill>
                  <a:schemeClr val="bg2"/>
                </a:solidFill>
                <a:latin typeface="+mn-lt"/>
              </a:defRPr>
            </a:lvl2pPr>
            <a:lvl3pPr marL="628650" indent="-168275">
              <a:defRPr sz="2000">
                <a:solidFill>
                  <a:schemeClr val="bg2"/>
                </a:solidFill>
                <a:latin typeface="+mn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37744" y="1197864"/>
            <a:ext cx="457200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93"/>
          <a:stretch/>
        </p:blipFill>
        <p:spPr>
          <a:xfrm>
            <a:off x="8321151" y="164912"/>
            <a:ext cx="682770" cy="283464"/>
          </a:xfrm>
          <a:prstGeom prst="rect">
            <a:avLst/>
          </a:prstGeom>
        </p:spPr>
      </p:pic>
      <p:sp>
        <p:nvSpPr>
          <p:cNvPr id="7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4878330" y="607162"/>
            <a:ext cx="4265669" cy="411617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736743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head and Bullets Cent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292894"/>
            <a:ext cx="4572000" cy="886397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44" y="1660955"/>
            <a:ext cx="4572000" cy="1093633"/>
          </a:xfrm>
        </p:spPr>
        <p:txBody>
          <a:bodyPr/>
          <a:lstStyle>
            <a:lvl1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  <a:latin typeface="+mn-lt"/>
              </a:defRPr>
            </a:lvl1pPr>
            <a:lvl2pPr marL="463550" indent="-236538">
              <a:defRPr sz="2200">
                <a:solidFill>
                  <a:schemeClr val="bg2"/>
                </a:solidFill>
                <a:latin typeface="+mn-lt"/>
              </a:defRPr>
            </a:lvl2pPr>
            <a:lvl3pPr marL="628650" indent="-168275">
              <a:defRPr sz="2000">
                <a:solidFill>
                  <a:schemeClr val="bg2"/>
                </a:solidFill>
                <a:latin typeface="+mn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93"/>
          <a:stretch/>
        </p:blipFill>
        <p:spPr>
          <a:xfrm>
            <a:off x="8321151" y="164912"/>
            <a:ext cx="682770" cy="283464"/>
          </a:xfrm>
          <a:prstGeom prst="rect">
            <a:avLst/>
          </a:prstGeom>
        </p:spPr>
      </p:pic>
      <p:sp>
        <p:nvSpPr>
          <p:cNvPr id="5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4878330" y="607162"/>
            <a:ext cx="4265669" cy="411617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742137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 Centere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292894"/>
            <a:ext cx="4572000" cy="886397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44" y="2261735"/>
            <a:ext cx="4572000" cy="1093633"/>
          </a:xfrm>
        </p:spPr>
        <p:txBody>
          <a:bodyPr/>
          <a:lstStyle>
            <a:lvl1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  <a:latin typeface="+mn-lt"/>
              </a:defRPr>
            </a:lvl1pPr>
            <a:lvl2pPr marL="463550" indent="-236538">
              <a:defRPr sz="2200">
                <a:solidFill>
                  <a:schemeClr val="bg2"/>
                </a:solidFill>
                <a:latin typeface="+mn-lt"/>
              </a:defRPr>
            </a:lvl2pPr>
            <a:lvl3pPr marL="628650" indent="-168275">
              <a:defRPr sz="2000">
                <a:solidFill>
                  <a:schemeClr val="bg2"/>
                </a:solidFill>
                <a:latin typeface="+mn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37744" y="1805009"/>
            <a:ext cx="457200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93"/>
          <a:stretch/>
        </p:blipFill>
        <p:spPr>
          <a:xfrm>
            <a:off x="8321151" y="164912"/>
            <a:ext cx="682770" cy="283464"/>
          </a:xfrm>
          <a:prstGeom prst="rect">
            <a:avLst/>
          </a:prstGeom>
        </p:spPr>
      </p:pic>
      <p:sp>
        <p:nvSpPr>
          <p:cNvPr id="7" name="Picture Placeholder 10"/>
          <p:cNvSpPr>
            <a:spLocks noGrp="1"/>
          </p:cNvSpPr>
          <p:nvPr>
            <p:ph type="pic" sz="quarter" idx="11"/>
          </p:nvPr>
        </p:nvSpPr>
        <p:spPr>
          <a:xfrm>
            <a:off x="4878330" y="607162"/>
            <a:ext cx="4265669" cy="411617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961131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 Lef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292894"/>
            <a:ext cx="4572000" cy="886397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7744" y="2253000"/>
            <a:ext cx="4572000" cy="1093633"/>
          </a:xfrm>
        </p:spPr>
        <p:txBody>
          <a:bodyPr anchor="ctr" anchorCtr="0"/>
          <a:lstStyle>
            <a:lvl1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  <a:latin typeface="+mn-lt"/>
              </a:defRPr>
            </a:lvl1pPr>
            <a:lvl2pPr marL="463550" indent="-236538">
              <a:defRPr sz="2200">
                <a:solidFill>
                  <a:schemeClr val="bg2"/>
                </a:solidFill>
              </a:defRPr>
            </a:lvl2pPr>
            <a:lvl3pPr marL="628650" indent="-168275">
              <a:defRPr sz="2000">
                <a:solidFill>
                  <a:schemeClr val="bg2"/>
                </a:solidFill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93"/>
          <a:stretch/>
        </p:blipFill>
        <p:spPr>
          <a:xfrm>
            <a:off x="8321151" y="164912"/>
            <a:ext cx="682770" cy="283464"/>
          </a:xfrm>
          <a:prstGeom prst="rect">
            <a:avLst/>
          </a:prstGeom>
        </p:spPr>
      </p:pic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4878330" y="607162"/>
            <a:ext cx="4265669" cy="411617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15426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gray">
          <a:xfrm>
            <a:off x="0" y="0"/>
            <a:ext cx="9147290" cy="3540125"/>
          </a:xfrm>
          <a:prstGeom prst="rect">
            <a:avLst/>
          </a:prstGeom>
          <a:gradFill flip="none" rotWithShape="1">
            <a:gsLst>
              <a:gs pos="0">
                <a:srgbClr val="1A1E5A"/>
              </a:gs>
              <a:gs pos="100000">
                <a:srgbClr val="122D98"/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660"/>
              </a:spcBef>
              <a:spcAft>
                <a:spcPts val="660"/>
              </a:spcAft>
            </a:pPr>
            <a:endParaRPr lang="en-US" sz="1200" dirty="0" smtClean="0">
              <a:solidFill>
                <a:srgbClr val="FFFFFF"/>
              </a:solidFill>
              <a:latin typeface="Myriad Pro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 sz="quarter"/>
          </p:nvPr>
        </p:nvSpPr>
        <p:spPr bwMode="white">
          <a:xfrm>
            <a:off x="219075" y="1439251"/>
            <a:ext cx="8705850" cy="664797"/>
          </a:xfrm>
        </p:spPr>
        <p:txBody>
          <a:bodyPr anchor="ctr" anchorCtr="0"/>
          <a:lstStyle>
            <a:lvl1pPr marL="0" indent="0" algn="ctr">
              <a:defRPr sz="48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6"/>
          <a:stretch/>
        </p:blipFill>
        <p:spPr>
          <a:xfrm>
            <a:off x="6690242" y="4226748"/>
            <a:ext cx="2317192" cy="881124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60850" y="4962527"/>
            <a:ext cx="8976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95122675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0000">
                <a:schemeClr val="accent3"/>
              </a:gs>
              <a:gs pos="100000">
                <a:schemeClr val="accent4"/>
              </a:gs>
            </a:gsLst>
            <a:lin ang="27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660"/>
              </a:spcBef>
              <a:spcAft>
                <a:spcPts val="660"/>
              </a:spcAft>
            </a:pPr>
            <a:endParaRPr lang="en-US" sz="1050" dirty="0">
              <a:solidFill>
                <a:srgbClr val="000000"/>
              </a:solidFill>
              <a:latin typeface="Myriad Pro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19456" y="1439251"/>
            <a:ext cx="8705088" cy="664797"/>
          </a:xfrm>
        </p:spPr>
        <p:txBody>
          <a:bodyPr anchor="ctr" anchorCtr="0"/>
          <a:lstStyle>
            <a:lvl1pPr marL="0" indent="0" algn="ctr">
              <a:defRPr sz="48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36"/>
          <a:stretch/>
        </p:blipFill>
        <p:spPr>
          <a:xfrm>
            <a:off x="6690242" y="4226748"/>
            <a:ext cx="2317192" cy="881124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260850" y="4962527"/>
            <a:ext cx="8976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1420888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auto">
          <a:xfrm flipV="1">
            <a:off x="7148944" y="0"/>
            <a:ext cx="1995055" cy="5143500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50000">
                <a:schemeClr val="accent3"/>
              </a:gs>
              <a:gs pos="100000">
                <a:schemeClr val="accent4"/>
              </a:gs>
            </a:gsLst>
            <a:lin ang="27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660"/>
              </a:spcBef>
              <a:spcAft>
                <a:spcPts val="660"/>
              </a:spcAft>
            </a:pPr>
            <a:endParaRPr lang="en-US" sz="1050" dirty="0">
              <a:solidFill>
                <a:srgbClr val="000000"/>
              </a:solidFill>
              <a:latin typeface="Myriad Pro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>
          <a:xfrm>
            <a:off x="8315916" y="164912"/>
            <a:ext cx="717150" cy="253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350391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gray"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241F5D"/>
              </a:gs>
              <a:gs pos="100000">
                <a:srgbClr val="034EA1"/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660"/>
              </a:spcBef>
              <a:spcAft>
                <a:spcPts val="660"/>
              </a:spcAft>
            </a:pPr>
            <a:endParaRPr lang="en-US" sz="1200" dirty="0">
              <a:solidFill>
                <a:srgbClr val="FFFFFF"/>
              </a:solidFill>
              <a:latin typeface="Myriad Pro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0" y="0"/>
            <a:ext cx="9147290" cy="5143500"/>
          </a:xfrm>
          <a:prstGeom prst="rect">
            <a:avLst/>
          </a:prstGeom>
          <a:gradFill flip="none" rotWithShape="1">
            <a:gsLst>
              <a:gs pos="0">
                <a:srgbClr val="1A1E5A"/>
              </a:gs>
              <a:gs pos="100000">
                <a:srgbClr val="122D98"/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660"/>
              </a:spcBef>
              <a:spcAft>
                <a:spcPts val="660"/>
              </a:spcAft>
            </a:pPr>
            <a:endParaRPr lang="en-US" sz="1200" dirty="0" smtClean="0">
              <a:solidFill>
                <a:srgbClr val="FFFFFF"/>
              </a:solidFill>
              <a:latin typeface="Myriad Pro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white">
          <a:xfrm>
            <a:off x="221101" y="2267052"/>
            <a:ext cx="8705088" cy="609398"/>
          </a:xfrm>
        </p:spPr>
        <p:txBody>
          <a:bodyPr anchor="ctr" anchorCtr="0"/>
          <a:lstStyle>
            <a:lvl1pPr marL="0" indent="0" algn="ctr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Box 20"/>
          <p:cNvSpPr txBox="1"/>
          <p:nvPr userDrawn="1"/>
        </p:nvSpPr>
        <p:spPr bwMode="white">
          <a:xfrm>
            <a:off x="20776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0066B2"/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0066B2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white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6B2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6B2"/>
              </a:solidFill>
              <a:latin typeface="Segoe U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30324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6B2"/>
                </a:solidFill>
                <a:latin typeface="Segoe UI"/>
              </a:rPr>
              <a:t> All-Staff Meeting | Aug. 5, 2014</a:t>
            </a:r>
            <a:endParaRPr lang="en-US" sz="700" dirty="0">
              <a:solidFill>
                <a:srgbClr val="0066B2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1976798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2286000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536362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51387720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78581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27133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192136384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7657901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8013681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42323017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09645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55819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93494232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Gradient Quote Slide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ltGray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10039"/>
            <a:ext cx="8686800" cy="55778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0528107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7049898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581264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003299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No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193" y="292894"/>
            <a:ext cx="7510065" cy="3877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76415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40093202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2664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232422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335534100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1921232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7542905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Gradient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9144000" cy="35433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24149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5788650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86835019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69493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25294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38481993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7139164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563554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475986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3284536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535906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0402787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205496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6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46" name="Group 45"/>
            <p:cNvGrpSpPr/>
            <p:nvPr userDrawn="1"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47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8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9" name="Rectangle 48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51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2" name="Rectangle 51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3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55" name="Rectangle 21"/>
            <p:cNvSpPr>
              <a:spLocks noChangeArrowheads="1"/>
            </p:cNvSpPr>
            <p:nvPr userDrawn="1"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6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lvl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7" name="Rectangle 21"/>
            <p:cNvSpPr>
              <a:spLocks noChangeArrowheads="1"/>
            </p:cNvSpPr>
            <p:nvPr userDrawn="1"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8006031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277123690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5719638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9239138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96610829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2294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53517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6111322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53534901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119652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380741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4213254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36099688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62476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250193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343609218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903235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04731169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1328769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87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23078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7279013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37744" y="1060704"/>
            <a:ext cx="4151376" cy="767390"/>
          </a:xfrm>
        </p:spPr>
        <p:txBody>
          <a:bodyPr/>
          <a:lstStyle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4151376" cy="775597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Rectangle 21"/>
          <p:cNvSpPr>
            <a:spLocks noChangeArrowheads="1"/>
          </p:cNvSpPr>
          <p:nvPr userDrawn="1"/>
        </p:nvSpPr>
        <p:spPr bwMode="auto">
          <a:xfrm>
            <a:off x="4419600" y="2432533"/>
            <a:ext cx="2094330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4" name="Rectangle 21"/>
          <p:cNvSpPr>
            <a:spLocks noChangeArrowheads="1"/>
          </p:cNvSpPr>
          <p:nvPr userDrawn="1"/>
        </p:nvSpPr>
        <p:spPr bwMode="auto">
          <a:xfrm>
            <a:off x="6172200" y="1318509"/>
            <a:ext cx="2547518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7871155" y="1546283"/>
            <a:ext cx="1278331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7" name="Rectangle 21"/>
          <p:cNvSpPr>
            <a:spLocks noChangeArrowheads="1"/>
          </p:cNvSpPr>
          <p:nvPr userDrawn="1"/>
        </p:nvSpPr>
        <p:spPr bwMode="auto">
          <a:xfrm>
            <a:off x="7871155" y="1546284"/>
            <a:ext cx="848563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8" name="Rectangle 21"/>
          <p:cNvSpPr>
            <a:spLocks noChangeArrowheads="1"/>
          </p:cNvSpPr>
          <p:nvPr userDrawn="1"/>
        </p:nvSpPr>
        <p:spPr bwMode="auto">
          <a:xfrm>
            <a:off x="5326076" y="3540418"/>
            <a:ext cx="2547518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6882385" y="3319352"/>
            <a:ext cx="1837333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30" name="Rectangle 21"/>
          <p:cNvSpPr>
            <a:spLocks noChangeArrowheads="1"/>
          </p:cNvSpPr>
          <p:nvPr userDrawn="1"/>
        </p:nvSpPr>
        <p:spPr bwMode="auto">
          <a:xfrm>
            <a:off x="6882385" y="3547127"/>
            <a:ext cx="991209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33714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accent1">
                  <a:lumMod val="60000"/>
                  <a:lumOff val="40000"/>
                </a:schemeClr>
              </a:solidFill>
              <a:latin typeface="+mn-lt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3247384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60020113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421023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109965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No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193" y="292894"/>
            <a:ext cx="7510065" cy="3877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41070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193453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241191" y="3137517"/>
            <a:ext cx="3797409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432497"/>
            <a:ext cx="3800856" cy="2492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93" name="Group 92"/>
            <p:cNvGrpSpPr/>
            <p:nvPr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100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1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2" name="Rectangle 101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97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8" name="Rectangle 97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9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95" name="Rectangle 21"/>
            <p:cNvSpPr>
              <a:spLocks noChangeArrowheads="1"/>
            </p:cNvSpPr>
            <p:nvPr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96" name="Rectangle 21"/>
            <p:cNvSpPr>
              <a:spLocks noChangeArrowheads="1"/>
            </p:cNvSpPr>
            <p:nvPr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107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731157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37744" y="1060704"/>
            <a:ext cx="4151376" cy="767390"/>
          </a:xfrm>
        </p:spPr>
        <p:txBody>
          <a:bodyPr/>
          <a:lstStyle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4151376" cy="775597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Rectangle 21"/>
          <p:cNvSpPr>
            <a:spLocks noChangeArrowheads="1"/>
          </p:cNvSpPr>
          <p:nvPr userDrawn="1"/>
        </p:nvSpPr>
        <p:spPr bwMode="auto">
          <a:xfrm>
            <a:off x="4419600" y="2432533"/>
            <a:ext cx="2094330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4" name="Rectangle 21"/>
          <p:cNvSpPr>
            <a:spLocks noChangeArrowheads="1"/>
          </p:cNvSpPr>
          <p:nvPr userDrawn="1"/>
        </p:nvSpPr>
        <p:spPr bwMode="auto">
          <a:xfrm>
            <a:off x="6172200" y="1318509"/>
            <a:ext cx="2547518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7871155" y="1546283"/>
            <a:ext cx="1278331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7" name="Rectangle 21"/>
          <p:cNvSpPr>
            <a:spLocks noChangeArrowheads="1"/>
          </p:cNvSpPr>
          <p:nvPr userDrawn="1"/>
        </p:nvSpPr>
        <p:spPr bwMode="auto">
          <a:xfrm>
            <a:off x="7871155" y="1546284"/>
            <a:ext cx="848563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8" name="Rectangle 21"/>
          <p:cNvSpPr>
            <a:spLocks noChangeArrowheads="1"/>
          </p:cNvSpPr>
          <p:nvPr userDrawn="1"/>
        </p:nvSpPr>
        <p:spPr bwMode="auto">
          <a:xfrm>
            <a:off x="5326076" y="3540418"/>
            <a:ext cx="2547518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6882385" y="3319352"/>
            <a:ext cx="1837333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30" name="Rectangle 21"/>
          <p:cNvSpPr>
            <a:spLocks noChangeArrowheads="1"/>
          </p:cNvSpPr>
          <p:nvPr userDrawn="1"/>
        </p:nvSpPr>
        <p:spPr bwMode="auto">
          <a:xfrm>
            <a:off x="6882385" y="3547127"/>
            <a:ext cx="991209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297162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7011" y="347727"/>
            <a:ext cx="6217920" cy="689420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7011" y="1207805"/>
            <a:ext cx="6217920" cy="249299"/>
          </a:xfrm>
          <a:effectLst/>
        </p:spPr>
        <p:txBody>
          <a:bodyPr wrap="square">
            <a:no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2269731"/>
            <a:ext cx="1789530" cy="581598"/>
          </a:xfrm>
          <a:prstGeom prst="rect">
            <a:avLst/>
          </a:prstGeom>
        </p:spPr>
      </p:pic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7011" y="1502785"/>
            <a:ext cx="6217920" cy="249299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83575157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Large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1363" y="3982969"/>
            <a:ext cx="6227064" cy="261610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1363" y="4364093"/>
            <a:ext cx="6227064" cy="166199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1363" y="4539151"/>
            <a:ext cx="6227064" cy="1661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5924468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Special Quot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2" y="2511851"/>
            <a:ext cx="6007208" cy="332399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00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84827938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8393320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490556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93650470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397021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982951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6711870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012565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1"/>
          </p:nvPr>
        </p:nvSpPr>
        <p:spPr>
          <a:xfrm>
            <a:off x="2895600" y="1397021"/>
            <a:ext cx="609600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81979" y="184370"/>
            <a:ext cx="610962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881980" y="982951"/>
            <a:ext cx="610962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black">
          <a:xfrm>
            <a:off x="560256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black">
          <a:xfrm>
            <a:off x="3036414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883066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84687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37743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54879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241192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4754879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6581632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237743" y="1060704"/>
            <a:ext cx="4150581" cy="767390"/>
          </a:xfrm>
        </p:spPr>
        <p:txBody>
          <a:bodyPr wrap="square">
            <a:spAutoFit/>
          </a:bodyPr>
          <a:lstStyle>
            <a:lvl1pPr>
              <a:defRPr sz="1800"/>
            </a:lvl1pPr>
            <a:lvl2pPr>
              <a:defRPr sz="1600"/>
            </a:lvl2pPr>
            <a:lvl3pPr marL="658368" indent="-173736"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754879" y="1060704"/>
            <a:ext cx="4150581" cy="7673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68220439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690872" y="2155460"/>
            <a:ext cx="4343400" cy="837152"/>
          </a:xfrm>
          <a:effectLst/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gray">
          <a:xfrm>
            <a:off x="4835680" y="4962527"/>
            <a:ext cx="251132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4367618" y="4962527"/>
            <a:ext cx="399143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gray">
          <a:xfrm>
            <a:off x="7162800" y="4962527"/>
            <a:ext cx="9144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6968214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2286000"/>
            <a:ext cx="8686800" cy="523220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00976758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2286000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41602608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Gradient Quote Slide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ltGray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10039"/>
            <a:ext cx="8686800" cy="55778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5929271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2314276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Gradient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9144000" cy="35433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24149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85822297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205496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6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46" name="Group 45"/>
            <p:cNvGrpSpPr/>
            <p:nvPr userDrawn="1"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47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8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9" name="Rectangle 48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51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2" name="Rectangle 51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3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55" name="Rectangle 21"/>
            <p:cNvSpPr>
              <a:spLocks noChangeArrowheads="1"/>
            </p:cNvSpPr>
            <p:nvPr userDrawn="1"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6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7" name="Rectangle 21"/>
            <p:cNvSpPr>
              <a:spLocks noChangeArrowheads="1"/>
            </p:cNvSpPr>
            <p:nvPr userDrawn="1"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92212318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64371998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193453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241191" y="3137517"/>
            <a:ext cx="3797409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432497"/>
            <a:ext cx="3800856" cy="2492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93" name="Group 92"/>
            <p:cNvGrpSpPr/>
            <p:nvPr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100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1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2" name="Rectangle 101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97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8" name="Rectangle 97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9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95" name="Rectangle 21"/>
            <p:cNvSpPr>
              <a:spLocks noChangeArrowheads="1"/>
            </p:cNvSpPr>
            <p:nvPr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96" name="Rectangle 21"/>
            <p:cNvSpPr>
              <a:spLocks noChangeArrowheads="1"/>
            </p:cNvSpPr>
            <p:nvPr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107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317622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37744" y="1060704"/>
            <a:ext cx="4151376" cy="767390"/>
          </a:xfrm>
        </p:spPr>
        <p:txBody>
          <a:bodyPr/>
          <a:lstStyle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4151376" cy="775597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Rectangle 21"/>
          <p:cNvSpPr>
            <a:spLocks noChangeArrowheads="1"/>
          </p:cNvSpPr>
          <p:nvPr userDrawn="1"/>
        </p:nvSpPr>
        <p:spPr bwMode="auto">
          <a:xfrm>
            <a:off x="4419600" y="2432533"/>
            <a:ext cx="2094330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4" name="Rectangle 21"/>
          <p:cNvSpPr>
            <a:spLocks noChangeArrowheads="1"/>
          </p:cNvSpPr>
          <p:nvPr userDrawn="1"/>
        </p:nvSpPr>
        <p:spPr bwMode="auto">
          <a:xfrm>
            <a:off x="6172200" y="1318509"/>
            <a:ext cx="2547518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7871155" y="1546283"/>
            <a:ext cx="1278331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7" name="Rectangle 21"/>
          <p:cNvSpPr>
            <a:spLocks noChangeArrowheads="1"/>
          </p:cNvSpPr>
          <p:nvPr userDrawn="1"/>
        </p:nvSpPr>
        <p:spPr bwMode="auto">
          <a:xfrm>
            <a:off x="7871155" y="1546284"/>
            <a:ext cx="848563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8" name="Rectangle 21"/>
          <p:cNvSpPr>
            <a:spLocks noChangeArrowheads="1"/>
          </p:cNvSpPr>
          <p:nvPr userDrawn="1"/>
        </p:nvSpPr>
        <p:spPr bwMode="auto">
          <a:xfrm>
            <a:off x="5326076" y="3540418"/>
            <a:ext cx="2547518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6882385" y="3319352"/>
            <a:ext cx="1837333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30" name="Rectangle 21"/>
          <p:cNvSpPr>
            <a:spLocks noChangeArrowheads="1"/>
          </p:cNvSpPr>
          <p:nvPr userDrawn="1"/>
        </p:nvSpPr>
        <p:spPr bwMode="auto">
          <a:xfrm>
            <a:off x="6882385" y="3547127"/>
            <a:ext cx="991209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05443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7011" y="347727"/>
            <a:ext cx="6217920" cy="689420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7011" y="1207805"/>
            <a:ext cx="6217920" cy="249299"/>
          </a:xfrm>
          <a:effectLst/>
        </p:spPr>
        <p:txBody>
          <a:bodyPr wrap="square">
            <a:no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2269731"/>
            <a:ext cx="1789530" cy="581598"/>
          </a:xfrm>
          <a:prstGeom prst="rect">
            <a:avLst/>
          </a:prstGeom>
        </p:spPr>
      </p:pic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7011" y="1502785"/>
            <a:ext cx="6217920" cy="249299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6188967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Large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1363" y="3982969"/>
            <a:ext cx="6227064" cy="261610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1363" y="4364093"/>
            <a:ext cx="6227064" cy="166199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1363" y="4539151"/>
            <a:ext cx="6227064" cy="1661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36565349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Special Quot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2" y="2511851"/>
            <a:ext cx="6007208" cy="332399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00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26708826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46779658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57120343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101307596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397021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982951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559812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81613506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1"/>
          </p:nvPr>
        </p:nvSpPr>
        <p:spPr>
          <a:xfrm>
            <a:off x="2895600" y="1397021"/>
            <a:ext cx="609600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81979" y="184370"/>
            <a:ext cx="610962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881980" y="982951"/>
            <a:ext cx="610962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black">
          <a:xfrm>
            <a:off x="560256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black">
          <a:xfrm>
            <a:off x="3036414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883066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90915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37743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54879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241192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4754879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5815273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237743" y="1060704"/>
            <a:ext cx="4150581" cy="767390"/>
          </a:xfrm>
        </p:spPr>
        <p:txBody>
          <a:bodyPr wrap="square">
            <a:spAutoFit/>
          </a:bodyPr>
          <a:lstStyle>
            <a:lvl1pPr>
              <a:defRPr sz="1800"/>
            </a:lvl1pPr>
            <a:lvl2pPr>
              <a:defRPr sz="1600"/>
            </a:lvl2pPr>
            <a:lvl3pPr marL="658368" indent="-173736"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754879" y="1060704"/>
            <a:ext cx="4150581" cy="7673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19473935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690872" y="2155460"/>
            <a:ext cx="4343400" cy="837152"/>
          </a:xfrm>
          <a:effectLst/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gray">
          <a:xfrm>
            <a:off x="4835680" y="4962527"/>
            <a:ext cx="251132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4367618" y="4962527"/>
            <a:ext cx="399143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gray">
          <a:xfrm>
            <a:off x="7162800" y="4962527"/>
            <a:ext cx="9144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61031565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2286000"/>
            <a:ext cx="8686800" cy="523220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6130545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2286000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0532322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Gradient Quote Slide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ltGray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10039"/>
            <a:ext cx="8686800" cy="55778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4277299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Gradient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9144000" cy="35433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24149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79860142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602075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205496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6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46" name="Group 45"/>
            <p:cNvGrpSpPr/>
            <p:nvPr userDrawn="1"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47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8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9" name="Rectangle 48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51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2" name="Rectangle 51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3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55" name="Rectangle 21"/>
            <p:cNvSpPr>
              <a:spLocks noChangeArrowheads="1"/>
            </p:cNvSpPr>
            <p:nvPr userDrawn="1"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6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7" name="Rectangle 21"/>
            <p:cNvSpPr>
              <a:spLocks noChangeArrowheads="1"/>
            </p:cNvSpPr>
            <p:nvPr userDrawn="1"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  <p:sp>
        <p:nvSpPr>
          <p:cNvPr id="17" name="TextBox 1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12471339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9615696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93"/>
          <a:stretch/>
        </p:blipFill>
        <p:spPr>
          <a:xfrm>
            <a:off x="8321151" y="164912"/>
            <a:ext cx="682770" cy="283464"/>
          </a:xfrm>
          <a:prstGeom prst="rect">
            <a:avLst/>
          </a:prstGeom>
        </p:spPr>
      </p:pic>
      <p:sp>
        <p:nvSpPr>
          <p:cNvPr id="8" name="Rectangle 4"/>
          <p:cNvSpPr>
            <a:spLocks noGrp="1" noChangeArrowheads="1"/>
          </p:cNvSpPr>
          <p:nvPr>
            <p:ph idx="1"/>
          </p:nvPr>
        </p:nvSpPr>
        <p:spPr bwMode="gray">
          <a:xfrm>
            <a:off x="237743" y="1092764"/>
            <a:ext cx="843076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title"/>
          </p:nvPr>
        </p:nvSpPr>
        <p:spPr bwMode="black">
          <a:xfrm>
            <a:off x="237744" y="292894"/>
            <a:ext cx="7513389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90747995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No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192" y="292894"/>
            <a:ext cx="7510065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93"/>
          <a:stretch/>
        </p:blipFill>
        <p:spPr>
          <a:xfrm>
            <a:off x="8321151" y="164912"/>
            <a:ext cx="682770" cy="283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62251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gray">
          <a:xfrm>
            <a:off x="0" y="-1"/>
            <a:ext cx="9144000" cy="5143501"/>
          </a:xfrm>
          <a:prstGeom prst="rect">
            <a:avLst/>
          </a:prstGeom>
          <a:gradFill flip="none" rotWithShape="1">
            <a:gsLst>
              <a:gs pos="0">
                <a:srgbClr val="241F5D"/>
              </a:gs>
              <a:gs pos="100000">
                <a:srgbClr val="034EA1"/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660"/>
              </a:spcBef>
              <a:spcAft>
                <a:spcPts val="660"/>
              </a:spcAft>
            </a:pPr>
            <a:endParaRPr lang="en-US" sz="1200" dirty="0">
              <a:solidFill>
                <a:srgbClr val="FFFFFF"/>
              </a:solidFill>
              <a:latin typeface="Myriad Pro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gray">
          <a:xfrm>
            <a:off x="0" y="0"/>
            <a:ext cx="9147290" cy="5143500"/>
          </a:xfrm>
          <a:prstGeom prst="rect">
            <a:avLst/>
          </a:prstGeom>
          <a:gradFill flip="none" rotWithShape="1">
            <a:gsLst>
              <a:gs pos="0">
                <a:srgbClr val="1A1E5A"/>
              </a:gs>
              <a:gs pos="100000">
                <a:srgbClr val="122D98"/>
              </a:gs>
            </a:gsLst>
            <a:lin ang="18900000" scaled="1"/>
            <a:tileRect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1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spcBef>
                <a:spcPts val="660"/>
              </a:spcBef>
              <a:spcAft>
                <a:spcPts val="660"/>
              </a:spcAft>
            </a:pPr>
            <a:endParaRPr lang="en-US" sz="1200" dirty="0" smtClean="0">
              <a:solidFill>
                <a:srgbClr val="FFFFFF"/>
              </a:solidFill>
              <a:latin typeface="Myriad Pro" pitchFamily="34" charset="0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white">
          <a:xfrm>
            <a:off x="221101" y="2267052"/>
            <a:ext cx="8705088" cy="609398"/>
          </a:xfrm>
        </p:spPr>
        <p:txBody>
          <a:bodyPr anchor="ctr" anchorCtr="0"/>
          <a:lstStyle>
            <a:lvl1pPr marL="0" indent="0" algn="ctr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white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6B2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6B2"/>
              </a:solidFill>
              <a:latin typeface="Segoe U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30003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6B2"/>
                </a:solidFill>
              </a:rPr>
              <a:t> </a:t>
            </a:r>
            <a:r>
              <a:rPr lang="en-US" sz="700" dirty="0" smtClean="0">
                <a:solidFill>
                  <a:srgbClr val="0066B2"/>
                </a:solidFill>
                <a:latin typeface="Segoe UI"/>
              </a:rPr>
              <a:t>All-Staff Meeting | Aug. 5, 2014</a:t>
            </a:r>
            <a:endParaRPr lang="en-US" sz="700" dirty="0">
              <a:solidFill>
                <a:srgbClr val="0066B2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6B2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6B2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08342423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193453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241191" y="3137517"/>
            <a:ext cx="3797409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432497"/>
            <a:ext cx="3800856" cy="2492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93" name="Group 92"/>
            <p:cNvGrpSpPr/>
            <p:nvPr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100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1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2" name="Rectangle 101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97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8" name="Rectangle 97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9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95" name="Rectangle 21"/>
            <p:cNvSpPr>
              <a:spLocks noChangeArrowheads="1"/>
            </p:cNvSpPr>
            <p:nvPr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96" name="Rectangle 21"/>
            <p:cNvSpPr>
              <a:spLocks noChangeArrowheads="1"/>
            </p:cNvSpPr>
            <p:nvPr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107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lvl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211716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37744" y="1060704"/>
            <a:ext cx="4151376" cy="767390"/>
          </a:xfrm>
        </p:spPr>
        <p:txBody>
          <a:bodyPr/>
          <a:lstStyle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4151376" cy="775597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Rectangle 21"/>
          <p:cNvSpPr>
            <a:spLocks noChangeArrowheads="1"/>
          </p:cNvSpPr>
          <p:nvPr userDrawn="1"/>
        </p:nvSpPr>
        <p:spPr bwMode="auto">
          <a:xfrm>
            <a:off x="4419600" y="2432533"/>
            <a:ext cx="2094330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4" name="Rectangle 21"/>
          <p:cNvSpPr>
            <a:spLocks noChangeArrowheads="1"/>
          </p:cNvSpPr>
          <p:nvPr userDrawn="1"/>
        </p:nvSpPr>
        <p:spPr bwMode="auto">
          <a:xfrm>
            <a:off x="6172200" y="1318509"/>
            <a:ext cx="2547518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7871155" y="1546283"/>
            <a:ext cx="1278331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7" name="Rectangle 21"/>
          <p:cNvSpPr>
            <a:spLocks noChangeArrowheads="1"/>
          </p:cNvSpPr>
          <p:nvPr userDrawn="1"/>
        </p:nvSpPr>
        <p:spPr bwMode="auto">
          <a:xfrm>
            <a:off x="7871155" y="1546284"/>
            <a:ext cx="848563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8" name="Rectangle 21"/>
          <p:cNvSpPr>
            <a:spLocks noChangeArrowheads="1"/>
          </p:cNvSpPr>
          <p:nvPr userDrawn="1"/>
        </p:nvSpPr>
        <p:spPr bwMode="auto">
          <a:xfrm>
            <a:off x="5326076" y="3540418"/>
            <a:ext cx="2547518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6882385" y="3319352"/>
            <a:ext cx="1837333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30" name="Rectangle 21"/>
          <p:cNvSpPr>
            <a:spLocks noChangeArrowheads="1"/>
          </p:cNvSpPr>
          <p:nvPr userDrawn="1"/>
        </p:nvSpPr>
        <p:spPr bwMode="auto">
          <a:xfrm>
            <a:off x="6882385" y="3547127"/>
            <a:ext cx="991209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40426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7011" y="347727"/>
            <a:ext cx="6217920" cy="689420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7011" y="1207805"/>
            <a:ext cx="6217920" cy="249299"/>
          </a:xfrm>
          <a:effectLst/>
        </p:spPr>
        <p:txBody>
          <a:bodyPr wrap="square">
            <a:no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2269731"/>
            <a:ext cx="1789530" cy="581598"/>
          </a:xfrm>
          <a:prstGeom prst="rect">
            <a:avLst/>
          </a:prstGeom>
        </p:spPr>
      </p:pic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7011" y="1502785"/>
            <a:ext cx="6217920" cy="249299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877619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nd 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1363" y="3982969"/>
            <a:ext cx="6227064" cy="261610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1363" y="4364093"/>
            <a:ext cx="6227064" cy="166199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1363" y="4539151"/>
            <a:ext cx="6227064" cy="1661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61562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and Special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2" y="2511851"/>
            <a:ext cx="6007208" cy="332399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00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34200" y="4183323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73071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1228165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0098095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20892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397021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982951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6579168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1773774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1"/>
          </p:nvPr>
        </p:nvSpPr>
        <p:spPr>
          <a:xfrm>
            <a:off x="2895600" y="1397021"/>
            <a:ext cx="609600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81979" y="184370"/>
            <a:ext cx="610962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881980" y="982951"/>
            <a:ext cx="610962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black">
          <a:xfrm>
            <a:off x="560256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black">
          <a:xfrm>
            <a:off x="3036414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| 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883066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48325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37743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54879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241192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4754879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9164395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237743" y="1060704"/>
            <a:ext cx="4150581" cy="767390"/>
          </a:xfrm>
        </p:spPr>
        <p:txBody>
          <a:bodyPr wrap="square">
            <a:spAutoFit/>
          </a:bodyPr>
          <a:lstStyle>
            <a:lvl1pPr>
              <a:defRPr sz="1800"/>
            </a:lvl1pPr>
            <a:lvl2pPr>
              <a:defRPr sz="1600"/>
            </a:lvl2pPr>
            <a:lvl3pPr marL="658368" indent="-173736"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754879" y="1060704"/>
            <a:ext cx="4150581" cy="7673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1512522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690872" y="2155460"/>
            <a:ext cx="4343400" cy="837152"/>
          </a:xfrm>
          <a:effectLst/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gray">
          <a:xfrm>
            <a:off x="4835680" y="4962527"/>
            <a:ext cx="251132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| 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4367618" y="4962527"/>
            <a:ext cx="399143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r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gray">
          <a:xfrm>
            <a:off x="7162800" y="4962527"/>
            <a:ext cx="9144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20143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2286000"/>
            <a:ext cx="8686800" cy="523220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6605683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2286000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5172363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865776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ltGray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10039"/>
            <a:ext cx="8686800" cy="55778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67326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BBV  |  June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2014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859212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ld Gradient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9144000" cy="35433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24149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5310270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or 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205496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6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46" name="Group 45"/>
            <p:cNvGrpSpPr/>
            <p:nvPr userDrawn="1"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47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8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9" name="Rectangle 48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51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2" name="Rectangle 51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3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pPr lvl="0"/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55" name="Rectangle 21"/>
            <p:cNvSpPr>
              <a:spLocks noChangeArrowheads="1"/>
            </p:cNvSpPr>
            <p:nvPr userDrawn="1"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6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pPr lvl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7" name="Rectangle 21"/>
            <p:cNvSpPr>
              <a:spLocks noChangeArrowheads="1"/>
            </p:cNvSpPr>
            <p:nvPr userDrawn="1"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pPr lvl="0"/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102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922379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321733"/>
      </p:ext>
    </p:extLst>
  </p:cSld>
  <p:clrMapOvr>
    <a:masterClrMapping/>
  </p:clrMapOvr>
  <p:transition>
    <p:wipe dir="r"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193453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241191" y="3137517"/>
            <a:ext cx="3797409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432497"/>
            <a:ext cx="3800856" cy="2492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93" name="Group 92"/>
            <p:cNvGrpSpPr/>
            <p:nvPr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100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1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2" name="Rectangle 101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97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8" name="Rectangle 97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9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95" name="Rectangle 21"/>
            <p:cNvSpPr>
              <a:spLocks noChangeArrowheads="1"/>
            </p:cNvSpPr>
            <p:nvPr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96" name="Rectangle 21"/>
            <p:cNvSpPr>
              <a:spLocks noChangeArrowheads="1"/>
            </p:cNvSpPr>
            <p:nvPr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107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211716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37744" y="1060704"/>
            <a:ext cx="4151376" cy="767390"/>
          </a:xfrm>
        </p:spPr>
        <p:txBody>
          <a:bodyPr/>
          <a:lstStyle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4151376" cy="775597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Rectangle 21"/>
          <p:cNvSpPr>
            <a:spLocks noChangeArrowheads="1"/>
          </p:cNvSpPr>
          <p:nvPr userDrawn="1"/>
        </p:nvSpPr>
        <p:spPr bwMode="auto">
          <a:xfrm>
            <a:off x="4419600" y="2432533"/>
            <a:ext cx="2094330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4" name="Rectangle 21"/>
          <p:cNvSpPr>
            <a:spLocks noChangeArrowheads="1"/>
          </p:cNvSpPr>
          <p:nvPr userDrawn="1"/>
        </p:nvSpPr>
        <p:spPr bwMode="auto">
          <a:xfrm>
            <a:off x="6172200" y="1318509"/>
            <a:ext cx="2547518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7871155" y="1546283"/>
            <a:ext cx="1278331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7" name="Rectangle 21"/>
          <p:cNvSpPr>
            <a:spLocks noChangeArrowheads="1"/>
          </p:cNvSpPr>
          <p:nvPr userDrawn="1"/>
        </p:nvSpPr>
        <p:spPr bwMode="auto">
          <a:xfrm>
            <a:off x="7871155" y="1546284"/>
            <a:ext cx="848563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8" name="Rectangle 21"/>
          <p:cNvSpPr>
            <a:spLocks noChangeArrowheads="1"/>
          </p:cNvSpPr>
          <p:nvPr userDrawn="1"/>
        </p:nvSpPr>
        <p:spPr bwMode="auto">
          <a:xfrm>
            <a:off x="5326076" y="3540418"/>
            <a:ext cx="2547518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6882385" y="3319352"/>
            <a:ext cx="1837333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30" name="Rectangle 21"/>
          <p:cNvSpPr>
            <a:spLocks noChangeArrowheads="1"/>
          </p:cNvSpPr>
          <p:nvPr userDrawn="1"/>
        </p:nvSpPr>
        <p:spPr bwMode="auto">
          <a:xfrm>
            <a:off x="6882385" y="3547127"/>
            <a:ext cx="991209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40426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7011" y="347727"/>
            <a:ext cx="6217920" cy="689420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7011" y="1207805"/>
            <a:ext cx="6217920" cy="249299"/>
          </a:xfrm>
          <a:effectLst/>
        </p:spPr>
        <p:txBody>
          <a:bodyPr wrap="square">
            <a:no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2269731"/>
            <a:ext cx="1789530" cy="581598"/>
          </a:xfrm>
          <a:prstGeom prst="rect">
            <a:avLst/>
          </a:prstGeom>
        </p:spPr>
      </p:pic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7011" y="1502785"/>
            <a:ext cx="6217920" cy="249299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877619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Large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1363" y="3982969"/>
            <a:ext cx="6227064" cy="261610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1363" y="4364093"/>
            <a:ext cx="6227064" cy="166199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1363" y="4539151"/>
            <a:ext cx="6227064" cy="1661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761562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Special Quot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2" y="2511851"/>
            <a:ext cx="6007208" cy="332399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00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34200" y="4183323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73071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b="0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|  Presentation Title  |  Month XX,</a:t>
            </a:r>
            <a:r>
              <a:rPr lang="en-US" sz="700" b="0" baseline="0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 Year</a:t>
            </a:r>
            <a:endParaRPr lang="en-US" sz="700" b="0" dirty="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pPr algn="r"/>
              <a:t>‹#›</a:t>
            </a:fld>
            <a:endParaRPr lang="en-US" sz="700" dirty="0" smtClean="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b="0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Visa Confidential</a:t>
            </a:r>
            <a:endParaRPr lang="en-US" sz="700" b="0" dirty="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3458299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0098095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5820892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397021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982951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6579168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1773774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1"/>
          </p:nvPr>
        </p:nvSpPr>
        <p:spPr>
          <a:xfrm>
            <a:off x="2895600" y="1397021"/>
            <a:ext cx="609600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81979" y="184370"/>
            <a:ext cx="610962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881980" y="982951"/>
            <a:ext cx="610962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black">
          <a:xfrm>
            <a:off x="560256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black">
          <a:xfrm>
            <a:off x="3036414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883066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48325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37743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54879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241192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4754879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9164395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237743" y="1060704"/>
            <a:ext cx="4150581" cy="767390"/>
          </a:xfrm>
        </p:spPr>
        <p:txBody>
          <a:bodyPr wrap="square">
            <a:spAutoFit/>
          </a:bodyPr>
          <a:lstStyle>
            <a:lvl1pPr>
              <a:defRPr sz="1800"/>
            </a:lvl1pPr>
            <a:lvl2pPr>
              <a:defRPr sz="1600"/>
            </a:lvl2pPr>
            <a:lvl3pPr marL="658368" indent="-173736"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754879" y="1060704"/>
            <a:ext cx="4150581" cy="7673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01512522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690872" y="2155460"/>
            <a:ext cx="4343400" cy="837152"/>
          </a:xfrm>
          <a:effectLst/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gray">
          <a:xfrm>
            <a:off x="4835680" y="4962527"/>
            <a:ext cx="251132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4367618" y="4962527"/>
            <a:ext cx="399143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gray">
          <a:xfrm>
            <a:off x="7162800" y="4962527"/>
            <a:ext cx="9144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720143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2286000"/>
            <a:ext cx="8686800" cy="523220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36605683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2286000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5172363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pPr lvl="0"/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 Presentation Title  |  Month XX,</a:t>
            </a:r>
            <a:r>
              <a:rPr lang="en-US" sz="700" baseline="0" dirty="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t> Year</a:t>
            </a:r>
            <a:endParaRPr lang="en-US" sz="700" dirty="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accent3">
                    <a:lumMod val="20000"/>
                    <a:lumOff val="80000"/>
                  </a:schemeClr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accent3">
                  <a:lumMod val="20000"/>
                  <a:lumOff val="80000"/>
                </a:schemeClr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767385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Gradient Quote Slide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ltGray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10039"/>
            <a:ext cx="8686800" cy="55778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67326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BBV  |  June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70859212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Gradient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9144000" cy="35433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24149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95310270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205496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6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46" name="Group 45"/>
            <p:cNvGrpSpPr/>
            <p:nvPr userDrawn="1"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47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8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9" name="Rectangle 48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51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2" name="Rectangle 51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3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55" name="Rectangle 21"/>
            <p:cNvSpPr>
              <a:spLocks noChangeArrowheads="1"/>
            </p:cNvSpPr>
            <p:nvPr userDrawn="1"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6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7" name="Rectangle 21"/>
            <p:cNvSpPr>
              <a:spLocks noChangeArrowheads="1"/>
            </p:cNvSpPr>
            <p:nvPr userDrawn="1"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102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0922379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08123078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555374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8025927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77765345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3371060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57345569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accent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accent2"/>
                </a:solidFill>
                <a:latin typeface="+mn-lt"/>
              </a:rPr>
              <a:t> Presentation Title  |  Month XX,</a:t>
            </a:r>
            <a:r>
              <a:rPr lang="en-US" sz="700" baseline="0" dirty="0" smtClean="0">
                <a:solidFill>
                  <a:schemeClr val="accent2"/>
                </a:solidFill>
                <a:latin typeface="+mn-lt"/>
              </a:rPr>
              <a:t> Year</a:t>
            </a:r>
            <a:endParaRPr lang="en-US" sz="7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accent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accent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5548617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64847795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56734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50826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3515318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7143484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765719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9588353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53326208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970522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8230190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7011" y="347727"/>
            <a:ext cx="6217920" cy="689420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7011" y="1207805"/>
            <a:ext cx="6217920" cy="249299"/>
          </a:xfrm>
          <a:effectLst/>
        </p:spPr>
        <p:txBody>
          <a:bodyPr wrap="square">
            <a:no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2269731"/>
            <a:ext cx="1789530" cy="581598"/>
          </a:xfrm>
          <a:prstGeom prst="rect">
            <a:avLst/>
          </a:prstGeom>
        </p:spPr>
      </p:pic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7011" y="1502785"/>
            <a:ext cx="6217920" cy="249299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8465706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pPr lvl="0"/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accent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accent2"/>
                </a:solidFill>
                <a:latin typeface="+mn-lt"/>
              </a:rPr>
              <a:t> Presentation Title  |  Month XX,</a:t>
            </a:r>
            <a:r>
              <a:rPr lang="en-US" sz="700" baseline="0" dirty="0" smtClean="0">
                <a:solidFill>
                  <a:schemeClr val="accent2"/>
                </a:solidFill>
                <a:latin typeface="+mn-lt"/>
              </a:rPr>
              <a:t> Year</a:t>
            </a:r>
            <a:endParaRPr lang="en-US" sz="7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accent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accent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03753746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382792587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66634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7926154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68480685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74368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20516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46948434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12852783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546873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042528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2839402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No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193" y="292894"/>
            <a:ext cx="7510065" cy="3877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288503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06252121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07524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708978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409935636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8884052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82088718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4810922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24697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3654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6011600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98204061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7408959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204900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407902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1800793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54248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3380177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273710334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8856650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74983803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white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1" y="2646444"/>
            <a:ext cx="4919472" cy="246221"/>
          </a:xfrm>
          <a:effectLst/>
        </p:spPr>
        <p:txBody>
          <a:bodyPr wrap="square" anchor="b"/>
          <a:lstStyle>
            <a:lvl1pPr>
              <a:lnSpc>
                <a:spcPct val="800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241191" y="2920382"/>
            <a:ext cx="4919472" cy="1938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400" b="1">
                <a:solidFill>
                  <a:schemeClr val="accent5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>
          <a:xfrm>
            <a:off x="237744" y="3257550"/>
            <a:ext cx="4919472" cy="1938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1790" y="2269731"/>
            <a:ext cx="1789530" cy="58159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8913873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64218125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37917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05983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376380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17172274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388458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020021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1" y="0"/>
            <a:ext cx="9147291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2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2" y="3136393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5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5" y="4962527"/>
            <a:ext cx="66845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63247384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1193" y="292894"/>
            <a:ext cx="7510066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4" y="1197865"/>
            <a:ext cx="8430388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793"/>
          <a:stretch/>
        </p:blipFill>
        <p:spPr>
          <a:xfrm>
            <a:off x="8321152" y="164912"/>
            <a:ext cx="682770" cy="283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54902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1" y="2617869"/>
            <a:ext cx="4921219" cy="276999"/>
          </a:xfrm>
          <a:effectLst/>
        </p:spPr>
        <p:txBody>
          <a:bodyPr wrap="square" anchor="b"/>
          <a:lstStyle>
            <a:lvl1pPr>
              <a:lnSpc>
                <a:spcPct val="900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1790" y="2269731"/>
            <a:ext cx="1789530" cy="581598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7607662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Box 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4552222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86800" cy="23544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1" hasCustomPrompt="1"/>
          </p:nvPr>
        </p:nvSpPr>
        <p:spPr bwMode="gray">
          <a:xfrm>
            <a:off x="237744" y="487054"/>
            <a:ext cx="8686800" cy="193899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828493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>
            <a:spLocks noGrp="1"/>
          </p:cNvSpPr>
          <p:nvPr>
            <p:ph sz="quarter" idx="12"/>
          </p:nvPr>
        </p:nvSpPr>
        <p:spPr>
          <a:xfrm>
            <a:off x="241192" y="871588"/>
            <a:ext cx="8686800" cy="601190"/>
          </a:xfrm>
        </p:spPr>
        <p:txBody>
          <a:bodyPr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86800" cy="23544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0172957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37744" y="184370"/>
            <a:ext cx="8686800" cy="235449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237744" y="871588"/>
            <a:ext cx="8686800" cy="601190"/>
          </a:xfrm>
        </p:spPr>
        <p:txBody>
          <a:bodyPr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1" hasCustomPrompt="1"/>
          </p:nvPr>
        </p:nvSpPr>
        <p:spPr bwMode="gray">
          <a:xfrm>
            <a:off x="237744" y="487054"/>
            <a:ext cx="8686800" cy="193899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054822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4" y="184370"/>
            <a:ext cx="8686800" cy="235449"/>
          </a:xfrm>
        </p:spPr>
        <p:txBody>
          <a:bodyPr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241192" y="871588"/>
            <a:ext cx="4169664" cy="601190"/>
          </a:xfrm>
        </p:spPr>
        <p:txBody>
          <a:bodyPr wrap="square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3"/>
          </p:nvPr>
        </p:nvSpPr>
        <p:spPr>
          <a:xfrm>
            <a:off x="4752212" y="871588"/>
            <a:ext cx="4169664" cy="601190"/>
          </a:xfrm>
        </p:spPr>
        <p:txBody>
          <a:bodyPr wrap="square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 bwMode="gray">
          <a:xfrm>
            <a:off x="237744" y="487054"/>
            <a:ext cx="4172331" cy="198746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5" hasCustomPrompt="1"/>
          </p:nvPr>
        </p:nvSpPr>
        <p:spPr bwMode="gray">
          <a:xfrm>
            <a:off x="4752212" y="487054"/>
            <a:ext cx="4172331" cy="198746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1243741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Large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1363" y="3982969"/>
            <a:ext cx="6227064" cy="261610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1363" y="4364093"/>
            <a:ext cx="6227064" cy="166199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1363" y="4539151"/>
            <a:ext cx="6227064" cy="1661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9601948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5355660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565493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  <p:sp>
        <p:nvSpPr>
          <p:cNvPr id="8" name="TextBox 7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417712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048338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1467548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109782261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847174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77666712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15944299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20452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Special Quot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2" y="2511851"/>
            <a:ext cx="6007208" cy="332399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00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5437123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04075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58445605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13426537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75785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687244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9972203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082768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1802030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359179264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5006858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8519484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59879743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22790075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65053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33543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9999282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79426630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715282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632164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black">
          <a:xfrm>
            <a:off x="241191" y="3136392"/>
            <a:ext cx="4334256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3"/>
                </a:solidFill>
              </a:defRPr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567441"/>
            <a:ext cx="4334256" cy="2769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bg1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3EA9">
                    <a:lumMod val="60000"/>
                    <a:lumOff val="4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3EA9">
                  <a:lumMod val="60000"/>
                  <a:lumOff val="40000"/>
                </a:srgbClr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5008119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475459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60075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41192" y="12070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7635060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0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</p:spTree>
    <p:extLst>
      <p:ext uri="{BB962C8B-B14F-4D97-AF65-F5344CB8AC3E}">
        <p14:creationId xmlns:p14="http://schemas.microsoft.com/office/powerpoint/2010/main" val="145346304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790956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1197864"/>
            <a:ext cx="8641080" cy="332399"/>
          </a:xfrm>
        </p:spPr>
        <p:txBody>
          <a:bodyPr/>
          <a:lstStyle>
            <a:lvl1pPr marL="0" indent="0">
              <a:buNone/>
              <a:defRPr sz="24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241192" y="1664208"/>
            <a:ext cx="8686800" cy="1016689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282827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blackWhite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18476005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 flipV="1">
            <a:off x="0" y="0"/>
            <a:ext cx="9144000" cy="35433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1417142"/>
            <a:ext cx="8686800" cy="62786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defRPr sz="4800" b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black">
          <a:xfrm>
            <a:off x="4258612" y="4962527"/>
            <a:ext cx="62677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880" y="3942176"/>
            <a:ext cx="2331720" cy="757807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07610116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blackWhite">
          <a:xfrm flipV="1">
            <a:off x="4403598" y="0"/>
            <a:ext cx="4740401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835679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6" name="TextBox 5"/>
          <p:cNvSpPr txBox="1"/>
          <p:nvPr userDrawn="1"/>
        </p:nvSpPr>
        <p:spPr bwMode="black">
          <a:xfrm>
            <a:off x="4656153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8335468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9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4693864" y="2048531"/>
            <a:ext cx="4183436" cy="1046440"/>
          </a:xfrm>
        </p:spPr>
        <p:txBody>
          <a:bodyPr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buClr>
                <a:schemeClr val="bg1"/>
              </a:buClr>
              <a:buNone/>
              <a:defRPr sz="40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1"/>
          </p:nvPr>
        </p:nvSpPr>
        <p:spPr bwMode="black">
          <a:xfrm>
            <a:off x="0" y="0"/>
            <a:ext cx="4403598" cy="5143500"/>
          </a:xfrm>
          <a:ln>
            <a:noFill/>
          </a:ln>
        </p:spPr>
        <p:txBody>
          <a:bodyPr anchor="ctr" anchorCtr="1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936714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 bwMode="white">
          <a:xfrm flipV="1"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>
            <a:spAutoFit/>
          </a:bodyPr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tx2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F7B600">
                    <a:lumMod val="20000"/>
                    <a:lumOff val="80000"/>
                  </a:srgbClr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F7B600">
                  <a:lumMod val="20000"/>
                  <a:lumOff val="80000"/>
                </a:srgbClr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92613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Ful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028"/>
          <a:stretch/>
        </p:blipFill>
        <p:spPr bwMode="black">
          <a:xfrm>
            <a:off x="8315916" y="164912"/>
            <a:ext cx="717150" cy="253556"/>
          </a:xfrm>
          <a:prstGeom prst="rect">
            <a:avLst/>
          </a:prstGeom>
        </p:spPr>
      </p:pic>
      <p:sp>
        <p:nvSpPr>
          <p:cNvPr id="16" name="Content Placeholder 3"/>
          <p:cNvSpPr>
            <a:spLocks noGrp="1"/>
          </p:cNvSpPr>
          <p:nvPr>
            <p:ph sz="half" idx="2"/>
          </p:nvPr>
        </p:nvSpPr>
        <p:spPr bwMode="black">
          <a:xfrm>
            <a:off x="228600" y="2256282"/>
            <a:ext cx="8686800" cy="630936"/>
          </a:xfrm>
        </p:spPr>
        <p:txBody>
          <a:bodyPr anchor="ctr" anchorCtr="0"/>
          <a:lstStyle>
            <a:lvl1pPr marL="0" indent="0" algn="l">
              <a:spcBef>
                <a:spcPts val="500"/>
              </a:spcBef>
              <a:buClr>
                <a:schemeClr val="bg1"/>
              </a:buClr>
              <a:buFontTx/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algn="ctr">
              <a:buClr>
                <a:schemeClr val="bg1"/>
              </a:buClr>
              <a:defRPr sz="22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20486397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 bwMode="white">
          <a:xfrm>
            <a:off x="0" y="0"/>
            <a:ext cx="9147290" cy="514350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2366"/>
          <a:stretch/>
        </p:blipFill>
        <p:spPr bwMode="black">
          <a:xfrm>
            <a:off x="4926604" y="1765179"/>
            <a:ext cx="3896761" cy="1232142"/>
          </a:xfrm>
          <a:prstGeom prst="rect">
            <a:avLst/>
          </a:prstGeom>
        </p:spPr>
      </p:pic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1" y="2187869"/>
            <a:ext cx="4334256" cy="837152"/>
          </a:xfrm>
          <a:effectLst/>
        </p:spPr>
        <p:txBody>
          <a:bodyPr wrap="square" anchor="b"/>
          <a:lstStyle>
            <a:lvl1pPr>
              <a:lnSpc>
                <a:spcPct val="85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0065EA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0065EA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0065EA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0065EA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8876015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051686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397021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982951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3238894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Slide - No Background Elements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425278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193453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241191" y="3137517"/>
            <a:ext cx="3797409" cy="249299"/>
          </a:xfrm>
          <a:effectLst/>
        </p:spPr>
        <p:txBody>
          <a:bodyPr wrap="square">
            <a:spAutoFit/>
          </a:bodyPr>
          <a:lstStyle>
            <a:lvl1pPr marL="0" indent="0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237744" y="3432497"/>
            <a:ext cx="3800856" cy="2492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9" name="Picture 1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93" name="Group 92"/>
            <p:cNvGrpSpPr/>
            <p:nvPr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100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1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102" name="Rectangle 101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97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8" name="Rectangle 97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99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95" name="Rectangle 21"/>
            <p:cNvSpPr>
              <a:spLocks noChangeArrowheads="1"/>
            </p:cNvSpPr>
            <p:nvPr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96" name="Rectangle 21"/>
            <p:cNvSpPr>
              <a:spLocks noChangeArrowheads="1"/>
            </p:cNvSpPr>
            <p:nvPr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107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8281141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37744" y="1060704"/>
            <a:ext cx="4151376" cy="767390"/>
          </a:xfrm>
        </p:spPr>
        <p:txBody>
          <a:bodyPr/>
          <a:lstStyle>
            <a:lvl4pPr marL="674624" indent="0">
              <a:buNone/>
              <a:defRPr/>
            </a:lvl4pPr>
            <a:lvl5pPr marL="885825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4151376" cy="775597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5" name="Rectangle 21"/>
          <p:cNvSpPr>
            <a:spLocks noChangeArrowheads="1"/>
          </p:cNvSpPr>
          <p:nvPr userDrawn="1"/>
        </p:nvSpPr>
        <p:spPr bwMode="auto">
          <a:xfrm>
            <a:off x="4419600" y="2432533"/>
            <a:ext cx="2094330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4" name="Rectangle 21"/>
          <p:cNvSpPr>
            <a:spLocks noChangeArrowheads="1"/>
          </p:cNvSpPr>
          <p:nvPr userDrawn="1"/>
        </p:nvSpPr>
        <p:spPr bwMode="auto">
          <a:xfrm>
            <a:off x="6172200" y="1318509"/>
            <a:ext cx="2547518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7871155" y="1546283"/>
            <a:ext cx="1278331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7" name="Rectangle 21"/>
          <p:cNvSpPr>
            <a:spLocks noChangeArrowheads="1"/>
          </p:cNvSpPr>
          <p:nvPr userDrawn="1"/>
        </p:nvSpPr>
        <p:spPr bwMode="auto">
          <a:xfrm>
            <a:off x="7871155" y="1546284"/>
            <a:ext cx="848563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8" name="Rectangle 21"/>
          <p:cNvSpPr>
            <a:spLocks noChangeArrowheads="1"/>
          </p:cNvSpPr>
          <p:nvPr userDrawn="1"/>
        </p:nvSpPr>
        <p:spPr bwMode="auto">
          <a:xfrm>
            <a:off x="5326076" y="3540418"/>
            <a:ext cx="2547518" cy="442130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6882385" y="3319352"/>
            <a:ext cx="1837333" cy="442130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30" name="Rectangle 21"/>
          <p:cNvSpPr>
            <a:spLocks noChangeArrowheads="1"/>
          </p:cNvSpPr>
          <p:nvPr userDrawn="1"/>
        </p:nvSpPr>
        <p:spPr bwMode="auto">
          <a:xfrm>
            <a:off x="6882385" y="3547127"/>
            <a:ext cx="991209" cy="214356"/>
          </a:xfrm>
          <a:prstGeom prst="rect">
            <a:avLst/>
          </a:prstGeom>
          <a:gradFill flip="none" rotWithShape="1">
            <a:gsLst>
              <a:gs pos="0">
                <a:srgbClr val="F26800"/>
              </a:gs>
              <a:gs pos="100000">
                <a:srgbClr val="FA9800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36138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7011" y="347727"/>
            <a:ext cx="6217920" cy="689420"/>
          </a:xfrm>
          <a:effectLst/>
        </p:spPr>
        <p:txBody>
          <a:bodyPr wrap="square" anchor="b">
            <a:noAutofit/>
          </a:bodyPr>
          <a:lstStyle>
            <a:lvl1pPr algn="r">
              <a:lnSpc>
                <a:spcPct val="85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7011" y="1207805"/>
            <a:ext cx="6217920" cy="249299"/>
          </a:xfrm>
          <a:effectLst/>
        </p:spPr>
        <p:txBody>
          <a:bodyPr wrap="square">
            <a:noAutofit/>
          </a:bodyPr>
          <a:lstStyle>
            <a:lvl1pPr marL="0" indent="0" algn="r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2269731"/>
            <a:ext cx="1789530" cy="581598"/>
          </a:xfrm>
          <a:prstGeom prst="rect">
            <a:avLst/>
          </a:prstGeom>
        </p:spPr>
      </p:pic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7011" y="1502785"/>
            <a:ext cx="6217920" cy="249299"/>
          </a:xfrm>
        </p:spPr>
        <p:txBody>
          <a:bodyPr>
            <a:spAutoFit/>
          </a:bodyPr>
          <a:lstStyle>
            <a:lvl1pPr marL="0" indent="0" algn="r">
              <a:spcBef>
                <a:spcPts val="0"/>
              </a:spcBef>
              <a:buNone/>
              <a:defRPr sz="18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198236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nd Large Photo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301363" y="3982969"/>
            <a:ext cx="6227064" cy="261610"/>
          </a:xfrm>
          <a:effectLst/>
        </p:spPr>
        <p:txBody>
          <a:bodyPr wrap="square" anchor="b">
            <a:spAutoFit/>
          </a:bodyPr>
          <a:lstStyle>
            <a:lvl1pPr algn="l">
              <a:lnSpc>
                <a:spcPct val="85000"/>
              </a:lnSpc>
              <a:defRPr sz="2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sz="quarter" idx="1"/>
          </p:nvPr>
        </p:nvSpPr>
        <p:spPr bwMode="gray">
          <a:xfrm>
            <a:off x="301363" y="4364093"/>
            <a:ext cx="6227064" cy="166199"/>
          </a:xfrm>
          <a:effectLst/>
        </p:spPr>
        <p:txBody>
          <a:bodyPr wrap="square">
            <a:spAutoFit/>
          </a:bodyPr>
          <a:lstStyle>
            <a:lvl1pPr marL="0" indent="0" algn="l">
              <a:spcBef>
                <a:spcPts val="1300"/>
              </a:spcBef>
              <a:spcAft>
                <a:spcPts val="0"/>
              </a:spcAft>
              <a:buFont typeface="Arial" charset="0"/>
              <a:buNone/>
              <a:defRPr sz="1200" b="1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0"/>
          </p:nvPr>
        </p:nvSpPr>
        <p:spPr bwMode="black">
          <a:xfrm>
            <a:off x="301363" y="4539151"/>
            <a:ext cx="6227064" cy="16619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200">
                <a:solidFill>
                  <a:schemeClr val="bg2"/>
                </a:solidFill>
              </a:defRPr>
            </a:lvl1pPr>
            <a:lvl2pPr marL="227012" indent="0">
              <a:buNone/>
              <a:defRPr>
                <a:solidFill>
                  <a:schemeClr val="bg1"/>
                </a:solidFill>
              </a:defRPr>
            </a:lvl2pPr>
            <a:lvl3pPr marL="460375" indent="0">
              <a:buNone/>
              <a:defRPr>
                <a:solidFill>
                  <a:schemeClr val="bg1"/>
                </a:solidFill>
              </a:defRPr>
            </a:lvl3pPr>
            <a:lvl4pPr marL="1122477" indent="0">
              <a:buNone/>
              <a:defRPr>
                <a:solidFill>
                  <a:schemeClr val="bg1"/>
                </a:solidFill>
              </a:defRPr>
            </a:lvl4pPr>
            <a:lvl5pPr marL="1428607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29840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hoto and Special Quot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41192" y="2511851"/>
            <a:ext cx="6007208" cy="332399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000"/>
              </a:spcBef>
              <a:spcAft>
                <a:spcPts val="0"/>
              </a:spcAft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934200" y="4183323"/>
            <a:ext cx="1789530" cy="581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38368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65398635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55332794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 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397021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982951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01623479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75280775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241192" y="1060704"/>
            <a:ext cx="864108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41191" y="184370"/>
            <a:ext cx="8641080" cy="366254"/>
          </a:xfrm>
        </p:spPr>
        <p:txBody>
          <a:bodyPr>
            <a:spAutoFit/>
          </a:bodyPr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41192" y="594022"/>
            <a:ext cx="864108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6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796201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Title, Subhead, Bullets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/>
          <p:cNvSpPr>
            <a:spLocks noGrp="1"/>
          </p:cNvSpPr>
          <p:nvPr>
            <p:ph sz="quarter" idx="11"/>
          </p:nvPr>
        </p:nvSpPr>
        <p:spPr>
          <a:xfrm>
            <a:off x="2895600" y="1397021"/>
            <a:ext cx="6096000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2881979" y="184370"/>
            <a:ext cx="6109620" cy="443198"/>
          </a:xfrm>
        </p:spPr>
        <p:txBody>
          <a:bodyPr/>
          <a:lstStyle>
            <a:lvl1pPr>
              <a:defRPr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 bwMode="gray">
          <a:xfrm>
            <a:off x="2881980" y="982951"/>
            <a:ext cx="6109620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black">
          <a:xfrm>
            <a:off x="560256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black">
          <a:xfrm>
            <a:off x="3036414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2883066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84725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head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idx="10" hasCustomPrompt="1"/>
          </p:nvPr>
        </p:nvSpPr>
        <p:spPr>
          <a:xfrm>
            <a:off x="237743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754879" y="982951"/>
            <a:ext cx="4150581" cy="249299"/>
          </a:xfrm>
        </p:spPr>
        <p:txBody>
          <a:bodyPr/>
          <a:lstStyle>
            <a:lvl1pPr marL="0" indent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 dirty="0" smtClean="0"/>
              <a:t>Click to add subhead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8" name="Content Placeholder 6"/>
          <p:cNvSpPr>
            <a:spLocks noGrp="1"/>
          </p:cNvSpPr>
          <p:nvPr>
            <p:ph sz="quarter" idx="12"/>
          </p:nvPr>
        </p:nvSpPr>
        <p:spPr>
          <a:xfrm>
            <a:off x="241192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quarter" idx="13"/>
          </p:nvPr>
        </p:nvSpPr>
        <p:spPr>
          <a:xfrm>
            <a:off x="4754879" y="1397021"/>
            <a:ext cx="4151376" cy="81381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0676481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43" y="184370"/>
            <a:ext cx="8641080" cy="38779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237743" y="1060704"/>
            <a:ext cx="4150581" cy="767390"/>
          </a:xfrm>
        </p:spPr>
        <p:txBody>
          <a:bodyPr wrap="square">
            <a:spAutoFit/>
          </a:bodyPr>
          <a:lstStyle>
            <a:lvl1pPr>
              <a:defRPr sz="1800"/>
            </a:lvl1pPr>
            <a:lvl2pPr>
              <a:defRPr sz="1600"/>
            </a:lvl2pPr>
            <a:lvl3pPr marL="658368" indent="-173736">
              <a:defRPr sz="14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2"/>
          </p:nvPr>
        </p:nvSpPr>
        <p:spPr>
          <a:xfrm>
            <a:off x="4754879" y="1060704"/>
            <a:ext cx="4150581" cy="76739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5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97632990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4690872" y="2155460"/>
            <a:ext cx="4343400" cy="837152"/>
          </a:xfrm>
          <a:effectLst/>
        </p:spPr>
        <p:txBody>
          <a:bodyPr anchor="ctr" anchorCtr="0"/>
          <a:lstStyle>
            <a:lvl1pPr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3200" b="0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gray">
          <a:xfrm>
            <a:off x="4835680" y="4962527"/>
            <a:ext cx="251132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4" name="TextBox 13"/>
          <p:cNvSpPr txBox="1"/>
          <p:nvPr userDrawn="1"/>
        </p:nvSpPr>
        <p:spPr bwMode="gray">
          <a:xfrm>
            <a:off x="4367618" y="4962527"/>
            <a:ext cx="399143" cy="107722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 algn="r"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5" name="Rectangle 6"/>
          <p:cNvSpPr>
            <a:spLocks noChangeArrowheads="1"/>
          </p:cNvSpPr>
          <p:nvPr userDrawn="1"/>
        </p:nvSpPr>
        <p:spPr bwMode="gray">
          <a:xfrm>
            <a:off x="7162800" y="4962527"/>
            <a:ext cx="9144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82388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2286000"/>
            <a:ext cx="8686800" cy="523220"/>
          </a:xfrm>
          <a:effectLst/>
        </p:spPr>
        <p:txBody>
          <a:bodyPr wrap="square" anchor="ctr" anchorCtr="0">
            <a:noAutofit/>
          </a:bodyPr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11117388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black">
          <a:xfrm>
            <a:off x="228600" y="2286000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accent5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99893819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Gradient Quote Slide">
    <p:bg bwMode="gray"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ltGray">
          <a:xfrm>
            <a:off x="0" y="-1"/>
            <a:ext cx="9144000" cy="3543301"/>
          </a:xfrm>
          <a:prstGeom prst="rect">
            <a:avLst/>
          </a:prstGeom>
          <a:gradFill>
            <a:gsLst>
              <a:gs pos="0">
                <a:srgbClr val="1A1E5A"/>
              </a:gs>
              <a:gs pos="99000">
                <a:srgbClr val="122D98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anchor="ctr" anchorCtr="0"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10039"/>
            <a:ext cx="8686800" cy="557784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91473280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old Gradient Quot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 bwMode="gray">
          <a:xfrm>
            <a:off x="0" y="-1"/>
            <a:ext cx="9144000" cy="3543301"/>
          </a:xfrm>
          <a:prstGeom prst="rect">
            <a:avLst/>
          </a:prstGeom>
          <a:gradFill flip="none" rotWithShape="1">
            <a:gsLst>
              <a:gs pos="0">
                <a:srgbClr val="FA9B00"/>
              </a:gs>
              <a:gs pos="100000">
                <a:srgbClr val="F4CA12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</p:spPr>
        <p:txBody>
          <a:bodyPr>
            <a:noAutofit/>
          </a:bodyPr>
          <a:lstStyle/>
          <a:p>
            <a:endParaRPr lang="en-US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28600" y="1524149"/>
            <a:ext cx="8686800" cy="523220"/>
          </a:xfrm>
          <a:effectLst/>
        </p:spPr>
        <p:txBody>
          <a:bodyPr wrap="square" anchor="ctr" anchorCtr="0"/>
          <a:lstStyle>
            <a:lvl1pPr marL="0" indent="0" algn="l">
              <a:lnSpc>
                <a:spcPct val="85000"/>
              </a:lnSpc>
              <a:spcBef>
                <a:spcPts val="1200"/>
              </a:spcBef>
              <a:spcAft>
                <a:spcPts val="0"/>
              </a:spcAft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200" y="4183323"/>
            <a:ext cx="1789530" cy="581598"/>
          </a:xfrm>
          <a:prstGeom prst="rect">
            <a:avLst/>
          </a:prstGeom>
        </p:spPr>
      </p:pic>
      <p:sp>
        <p:nvSpPr>
          <p:cNvPr id="8" name="Rectangle 7"/>
          <p:cNvSpPr>
            <a:spLocks noChangeArrowheads="1"/>
          </p:cNvSpPr>
          <p:nvPr userDrawn="1"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|  Presentation Title  |  Month XX, Year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6279437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or Section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ctrTitle" sz="quarter"/>
          </p:nvPr>
        </p:nvSpPr>
        <p:spPr bwMode="gray">
          <a:xfrm>
            <a:off x="241192" y="2205496"/>
            <a:ext cx="3798758" cy="732508"/>
          </a:xfrm>
          <a:effectLst/>
        </p:spPr>
        <p:txBody>
          <a:bodyPr wrap="square" anchor="b">
            <a:spAutoFit/>
          </a:bodyPr>
          <a:lstStyle>
            <a:lvl1pPr>
              <a:lnSpc>
                <a:spcPct val="85000"/>
              </a:lnSpc>
              <a:spcBef>
                <a:spcPts val="600"/>
              </a:spcBef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4544006" y="742950"/>
            <a:ext cx="4599994" cy="3020036"/>
            <a:chOff x="4544006" y="742950"/>
            <a:chExt cx="4599994" cy="3020036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44006" y="2313296"/>
              <a:ext cx="1689414" cy="549060"/>
            </a:xfrm>
            <a:prstGeom prst="rect">
              <a:avLst/>
            </a:prstGeom>
          </p:spPr>
        </p:pic>
        <p:grpSp>
          <p:nvGrpSpPr>
            <p:cNvPr id="46" name="Group 45"/>
            <p:cNvGrpSpPr/>
            <p:nvPr userDrawn="1"/>
          </p:nvGrpSpPr>
          <p:grpSpPr>
            <a:xfrm>
              <a:off x="6884010" y="1800243"/>
              <a:ext cx="2259987" cy="454637"/>
              <a:chOff x="9687151" y="3306297"/>
              <a:chExt cx="1711639" cy="454637"/>
            </a:xfrm>
          </p:grpSpPr>
          <p:sp>
            <p:nvSpPr>
              <p:cNvPr id="47" name="Rectangle 21"/>
              <p:cNvSpPr>
                <a:spLocks noChangeArrowheads="1"/>
              </p:cNvSpPr>
              <p:nvPr/>
            </p:nvSpPr>
            <p:spPr bwMode="gray">
              <a:xfrm>
                <a:off x="10325876" y="3462208"/>
                <a:ext cx="1072914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8" name="Rectangle 21"/>
              <p:cNvSpPr>
                <a:spLocks noChangeArrowheads="1"/>
              </p:cNvSpPr>
              <p:nvPr/>
            </p:nvSpPr>
            <p:spPr bwMode="gray">
              <a:xfrm>
                <a:off x="9687151" y="3306297"/>
                <a:ext cx="1034868" cy="300628"/>
              </a:xfrm>
              <a:prstGeom prst="rect">
                <a:avLst/>
              </a:prstGeom>
              <a:gradFill>
                <a:gsLst>
                  <a:gs pos="0">
                    <a:srgbClr val="1A1E5A"/>
                  </a:gs>
                  <a:gs pos="99000">
                    <a:srgbClr val="122D98"/>
                  </a:gs>
                </a:gsLst>
                <a:lin ang="0" scaled="0"/>
              </a:gradFill>
              <a:ln w="9525">
                <a:noFill/>
                <a:miter lim="800000"/>
                <a:headEnd/>
                <a:tailEnd/>
              </a:ln>
            </p:spPr>
            <p:txBody>
              <a:bodyPr anchor="ctr" anchorCtr="0"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49" name="Rectangle 48"/>
              <p:cNvSpPr>
                <a:spLocks noChangeArrowheads="1"/>
              </p:cNvSpPr>
              <p:nvPr/>
            </p:nvSpPr>
            <p:spPr bwMode="gray">
              <a:xfrm>
                <a:off x="10325876" y="3459434"/>
                <a:ext cx="39614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26800"/>
                  </a:gs>
                  <a:gs pos="100000">
                    <a:srgbClr val="FA9800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grpSp>
          <p:nvGrpSpPr>
            <p:cNvPr id="50" name="Group 49"/>
            <p:cNvGrpSpPr/>
            <p:nvPr userDrawn="1"/>
          </p:nvGrpSpPr>
          <p:grpSpPr>
            <a:xfrm>
              <a:off x="5584850" y="742950"/>
              <a:ext cx="2550327" cy="451865"/>
              <a:chOff x="7916736" y="-1399562"/>
              <a:chExt cx="2550327" cy="451865"/>
            </a:xfrm>
          </p:grpSpPr>
          <p:sp>
            <p:nvSpPr>
              <p:cNvPr id="51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905000" cy="298726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2" name="Rectangle 51"/>
              <p:cNvSpPr>
                <a:spLocks noChangeArrowheads="1"/>
              </p:cNvSpPr>
              <p:nvPr/>
            </p:nvSpPr>
            <p:spPr bwMode="gray">
              <a:xfrm>
                <a:off x="7916736" y="-1399562"/>
                <a:ext cx="1764690" cy="300628"/>
              </a:xfrm>
              <a:prstGeom prst="rect">
                <a:avLst/>
              </a:prstGeom>
              <a:gradFill flip="none" rotWithShape="1">
                <a:gsLst>
                  <a:gs pos="0">
                    <a:srgbClr val="FA9B00"/>
                  </a:gs>
                  <a:gs pos="100000">
                    <a:srgbClr val="F4CA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  <p:sp>
            <p:nvSpPr>
              <p:cNvPr id="53" name="Rectangle 21"/>
              <p:cNvSpPr>
                <a:spLocks noChangeArrowheads="1"/>
              </p:cNvSpPr>
              <p:nvPr/>
            </p:nvSpPr>
            <p:spPr bwMode="gray">
              <a:xfrm>
                <a:off x="8562063" y="-1246423"/>
                <a:ext cx="1119363" cy="147489"/>
              </a:xfrm>
              <a:prstGeom prst="rect">
                <a:avLst/>
              </a:prstGeom>
              <a:gradFill flip="none" rotWithShape="1">
                <a:gsLst>
                  <a:gs pos="0">
                    <a:srgbClr val="FFCB00"/>
                  </a:gs>
                  <a:gs pos="100000">
                    <a:srgbClr val="FBE112"/>
                  </a:gs>
                </a:gsLst>
                <a:lin ang="0" scaled="1"/>
                <a:tileRect/>
              </a:gradFill>
              <a:ln w="9525">
                <a:noFill/>
                <a:miter lim="800000"/>
                <a:headEnd/>
                <a:tailEnd/>
              </a:ln>
            </p:spPr>
            <p:txBody>
              <a:bodyPr>
                <a:noAutofit/>
              </a:bodyPr>
              <a:lstStyle/>
              <a:p>
                <a:endParaRPr lang="en-US" dirty="0">
                  <a:solidFill>
                    <a:srgbClr val="5C5C5C"/>
                  </a:solidFill>
                  <a:latin typeface="Segoe UI"/>
                </a:endParaRPr>
              </a:p>
            </p:txBody>
          </p:sp>
        </p:grpSp>
        <p:sp>
          <p:nvSpPr>
            <p:cNvPr id="55" name="Rectangle 21"/>
            <p:cNvSpPr>
              <a:spLocks noChangeArrowheads="1"/>
            </p:cNvSpPr>
            <p:nvPr userDrawn="1"/>
          </p:nvSpPr>
          <p:spPr bwMode="gray">
            <a:xfrm>
              <a:off x="7349540" y="2556939"/>
              <a:ext cx="1475584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6" name="Rectangle 21"/>
            <p:cNvSpPr>
              <a:spLocks noChangeArrowheads="1"/>
            </p:cNvSpPr>
            <p:nvPr userDrawn="1"/>
          </p:nvSpPr>
          <p:spPr bwMode="gray">
            <a:xfrm>
              <a:off x="8250415" y="3159644"/>
              <a:ext cx="893585" cy="300628"/>
            </a:xfrm>
            <a:prstGeom prst="rect">
              <a:avLst/>
            </a:prstGeom>
            <a:gradFill>
              <a:gsLst>
                <a:gs pos="0">
                  <a:srgbClr val="1A1E5A"/>
                </a:gs>
                <a:gs pos="99000">
                  <a:srgbClr val="122D98"/>
                </a:gs>
              </a:gsLst>
              <a:lin ang="0" scaled="0"/>
            </a:gradFill>
            <a:ln w="9525">
              <a:noFill/>
              <a:miter lim="800000"/>
              <a:headEnd/>
              <a:tailEnd/>
            </a:ln>
          </p:spPr>
          <p:txBody>
            <a:bodyPr anchor="ctr" anchorCtr="0"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  <p:sp>
          <p:nvSpPr>
            <p:cNvPr id="57" name="Rectangle 21"/>
            <p:cNvSpPr>
              <a:spLocks noChangeArrowheads="1"/>
            </p:cNvSpPr>
            <p:nvPr userDrawn="1"/>
          </p:nvSpPr>
          <p:spPr bwMode="gray">
            <a:xfrm>
              <a:off x="5113112" y="3462358"/>
              <a:ext cx="1770898" cy="300628"/>
            </a:xfrm>
            <a:prstGeom prst="rect">
              <a:avLst/>
            </a:prstGeom>
            <a:gradFill flip="none" rotWithShape="1">
              <a:gsLst>
                <a:gs pos="0">
                  <a:srgbClr val="FA9B00"/>
                </a:gs>
                <a:gs pos="100000">
                  <a:srgbClr val="F4CA12"/>
                </a:gs>
              </a:gsLst>
              <a:lin ang="0" scaled="1"/>
              <a:tileRect/>
            </a:gradFill>
            <a:ln w="9525">
              <a:noFill/>
              <a:miter lim="800000"/>
              <a:headEnd/>
              <a:tailEnd/>
            </a:ln>
          </p:spPr>
          <p:txBody>
            <a:bodyPr>
              <a:noAutofit/>
            </a:bodyPr>
            <a:lstStyle/>
            <a:p>
              <a:endParaRPr lang="en-US" dirty="0">
                <a:solidFill>
                  <a:srgbClr val="5C5C5C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04499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69219435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5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40.xml"/><Relationship Id="rId7" Type="http://schemas.openxmlformats.org/officeDocument/2006/relationships/slideLayout" Target="../slideLayouts/slideLayout144.xml"/><Relationship Id="rId12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9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1" Type="http://schemas.openxmlformats.org/officeDocument/2006/relationships/slideLayout" Target="../slideLayouts/slideLayout148.xml"/><Relationship Id="rId5" Type="http://schemas.openxmlformats.org/officeDocument/2006/relationships/slideLayout" Target="../slideLayouts/slideLayout142.xml"/><Relationship Id="rId10" Type="http://schemas.openxmlformats.org/officeDocument/2006/relationships/slideLayout" Target="../slideLayouts/slideLayout147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4" Type="http://schemas.openxmlformats.org/officeDocument/2006/relationships/image" Target="../media/image2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slideLayout" Target="../slideLayouts/slideLayout162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52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151.xml"/><Relationship Id="rId16" Type="http://schemas.openxmlformats.org/officeDocument/2006/relationships/vmlDrawing" Target="../drawings/vmlDrawing9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59.xml"/><Relationship Id="rId19" Type="http://schemas.openxmlformats.org/officeDocument/2006/relationships/oleObject" Target="../embeddings/oleObject9.bin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slideLayout" Target="../slideLayouts/slideLayout176.xml"/><Relationship Id="rId18" Type="http://schemas.openxmlformats.org/officeDocument/2006/relationships/oleObject" Target="../embeddings/oleObject10.bin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65.xml"/><Relationship Id="rId16" Type="http://schemas.openxmlformats.org/officeDocument/2006/relationships/tags" Target="../tags/tag10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5" Type="http://schemas.openxmlformats.org/officeDocument/2006/relationships/vmlDrawing" Target="../drawings/vmlDrawing10.vml"/><Relationship Id="rId10" Type="http://schemas.openxmlformats.org/officeDocument/2006/relationships/slideLayout" Target="../slideLayouts/slideLayout17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oleObject" Target="../embeddings/oleObject11.bin"/><Relationship Id="rId3" Type="http://schemas.openxmlformats.org/officeDocument/2006/relationships/slideLayout" Target="../slideLayouts/slideLayout179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78.xml"/><Relationship Id="rId16" Type="http://schemas.openxmlformats.org/officeDocument/2006/relationships/tags" Target="../tags/tag11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5" Type="http://schemas.openxmlformats.org/officeDocument/2006/relationships/slideLayout" Target="../slideLayouts/slideLayout181.xml"/><Relationship Id="rId15" Type="http://schemas.openxmlformats.org/officeDocument/2006/relationships/vmlDrawing" Target="../drawings/vmlDrawing11.vml"/><Relationship Id="rId10" Type="http://schemas.openxmlformats.org/officeDocument/2006/relationships/slideLayout" Target="../slideLayouts/slideLayout18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7.xml"/><Relationship Id="rId13" Type="http://schemas.openxmlformats.org/officeDocument/2006/relationships/slideLayout" Target="../slideLayouts/slideLayout202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192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196.xml"/><Relationship Id="rId12" Type="http://schemas.openxmlformats.org/officeDocument/2006/relationships/slideLayout" Target="../slideLayouts/slideLayout201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191.xml"/><Relationship Id="rId16" Type="http://schemas.openxmlformats.org/officeDocument/2006/relationships/vmlDrawing" Target="../drawings/vmlDrawing12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90.xml"/><Relationship Id="rId6" Type="http://schemas.openxmlformats.org/officeDocument/2006/relationships/slideLayout" Target="../slideLayouts/slideLayout195.xml"/><Relationship Id="rId11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94.xml"/><Relationship Id="rId15" Type="http://schemas.openxmlformats.org/officeDocument/2006/relationships/theme" Target="../theme/theme14.xml"/><Relationship Id="rId10" Type="http://schemas.openxmlformats.org/officeDocument/2006/relationships/slideLayout" Target="../slideLayouts/slideLayout199.xml"/><Relationship Id="rId19" Type="http://schemas.openxmlformats.org/officeDocument/2006/relationships/oleObject" Target="../embeddings/oleObject12.bin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4" Type="http://schemas.openxmlformats.org/officeDocument/2006/relationships/slideLayout" Target="../slideLayouts/slideLayout20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1.xml"/><Relationship Id="rId13" Type="http://schemas.openxmlformats.org/officeDocument/2006/relationships/slideLayout" Target="../slideLayouts/slideLayout216.xml"/><Relationship Id="rId18" Type="http://schemas.openxmlformats.org/officeDocument/2006/relationships/slideLayout" Target="../slideLayouts/slideLayout221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206.xml"/><Relationship Id="rId21" Type="http://schemas.openxmlformats.org/officeDocument/2006/relationships/vmlDrawing" Target="../drawings/vmlDrawing13.vml"/><Relationship Id="rId7" Type="http://schemas.openxmlformats.org/officeDocument/2006/relationships/slideLayout" Target="../slideLayouts/slideLayout210.xml"/><Relationship Id="rId12" Type="http://schemas.openxmlformats.org/officeDocument/2006/relationships/slideLayout" Target="../slideLayouts/slideLayout215.xml"/><Relationship Id="rId17" Type="http://schemas.openxmlformats.org/officeDocument/2006/relationships/slideLayout" Target="../slideLayouts/slideLayout220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05.xml"/><Relationship Id="rId16" Type="http://schemas.openxmlformats.org/officeDocument/2006/relationships/slideLayout" Target="../slideLayouts/slideLayout219.xml"/><Relationship Id="rId20" Type="http://schemas.openxmlformats.org/officeDocument/2006/relationships/theme" Target="../theme/theme15.xml"/><Relationship Id="rId1" Type="http://schemas.openxmlformats.org/officeDocument/2006/relationships/slideLayout" Target="../slideLayouts/slideLayout204.xml"/><Relationship Id="rId6" Type="http://schemas.openxmlformats.org/officeDocument/2006/relationships/slideLayout" Target="../slideLayouts/slideLayout209.xml"/><Relationship Id="rId11" Type="http://schemas.openxmlformats.org/officeDocument/2006/relationships/slideLayout" Target="../slideLayouts/slideLayout214.xml"/><Relationship Id="rId24" Type="http://schemas.openxmlformats.org/officeDocument/2006/relationships/oleObject" Target="../embeddings/oleObject13.bin"/><Relationship Id="rId5" Type="http://schemas.openxmlformats.org/officeDocument/2006/relationships/slideLayout" Target="../slideLayouts/slideLayout208.xml"/><Relationship Id="rId15" Type="http://schemas.openxmlformats.org/officeDocument/2006/relationships/slideLayout" Target="../slideLayouts/slideLayout218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213.xml"/><Relationship Id="rId19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07.xml"/><Relationship Id="rId9" Type="http://schemas.openxmlformats.org/officeDocument/2006/relationships/slideLayout" Target="../slideLayouts/slideLayout212.xml"/><Relationship Id="rId14" Type="http://schemas.openxmlformats.org/officeDocument/2006/relationships/slideLayout" Target="../slideLayouts/slideLayout217.xml"/><Relationship Id="rId22" Type="http://schemas.openxmlformats.org/officeDocument/2006/relationships/tags" Target="../tags/tag1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0.xml"/><Relationship Id="rId13" Type="http://schemas.openxmlformats.org/officeDocument/2006/relationships/slideLayout" Target="../slideLayouts/slideLayout235.xml"/><Relationship Id="rId18" Type="http://schemas.openxmlformats.org/officeDocument/2006/relationships/slideLayout" Target="../slideLayouts/slideLayout240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225.xml"/><Relationship Id="rId21" Type="http://schemas.openxmlformats.org/officeDocument/2006/relationships/slideLayout" Target="../slideLayouts/slideLayout243.xml"/><Relationship Id="rId7" Type="http://schemas.openxmlformats.org/officeDocument/2006/relationships/slideLayout" Target="../slideLayouts/slideLayout229.xml"/><Relationship Id="rId12" Type="http://schemas.openxmlformats.org/officeDocument/2006/relationships/slideLayout" Target="../slideLayouts/slideLayout234.xml"/><Relationship Id="rId17" Type="http://schemas.openxmlformats.org/officeDocument/2006/relationships/slideLayout" Target="../slideLayouts/slideLayout239.xml"/><Relationship Id="rId25" Type="http://schemas.openxmlformats.org/officeDocument/2006/relationships/tags" Target="../tags/tag14.xml"/><Relationship Id="rId2" Type="http://schemas.openxmlformats.org/officeDocument/2006/relationships/slideLayout" Target="../slideLayouts/slideLayout224.xml"/><Relationship Id="rId16" Type="http://schemas.openxmlformats.org/officeDocument/2006/relationships/slideLayout" Target="../slideLayouts/slideLayout238.xml"/><Relationship Id="rId20" Type="http://schemas.openxmlformats.org/officeDocument/2006/relationships/slideLayout" Target="../slideLayouts/slideLayout242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223.xml"/><Relationship Id="rId6" Type="http://schemas.openxmlformats.org/officeDocument/2006/relationships/slideLayout" Target="../slideLayouts/slideLayout228.xml"/><Relationship Id="rId11" Type="http://schemas.openxmlformats.org/officeDocument/2006/relationships/slideLayout" Target="../slideLayouts/slideLayout233.xml"/><Relationship Id="rId24" Type="http://schemas.openxmlformats.org/officeDocument/2006/relationships/vmlDrawing" Target="../drawings/vmlDrawing14.vml"/><Relationship Id="rId5" Type="http://schemas.openxmlformats.org/officeDocument/2006/relationships/slideLayout" Target="../slideLayouts/slideLayout227.xml"/><Relationship Id="rId15" Type="http://schemas.openxmlformats.org/officeDocument/2006/relationships/slideLayout" Target="../slideLayouts/slideLayout237.xml"/><Relationship Id="rId23" Type="http://schemas.openxmlformats.org/officeDocument/2006/relationships/theme" Target="../theme/theme1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232.xml"/><Relationship Id="rId19" Type="http://schemas.openxmlformats.org/officeDocument/2006/relationships/slideLayout" Target="../slideLayouts/slideLayout241.xml"/><Relationship Id="rId4" Type="http://schemas.openxmlformats.org/officeDocument/2006/relationships/slideLayout" Target="../slideLayouts/slideLayout226.xml"/><Relationship Id="rId9" Type="http://schemas.openxmlformats.org/officeDocument/2006/relationships/slideLayout" Target="../slideLayouts/slideLayout231.xml"/><Relationship Id="rId14" Type="http://schemas.openxmlformats.org/officeDocument/2006/relationships/slideLayout" Target="../slideLayouts/slideLayout236.xml"/><Relationship Id="rId22" Type="http://schemas.openxmlformats.org/officeDocument/2006/relationships/slideLayout" Target="../slideLayouts/slideLayout244.xml"/><Relationship Id="rId27" Type="http://schemas.openxmlformats.org/officeDocument/2006/relationships/oleObject" Target="../embeddings/oleObject14.bin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2.xml"/><Relationship Id="rId13" Type="http://schemas.openxmlformats.org/officeDocument/2006/relationships/slideLayout" Target="../slideLayouts/slideLayout257.xml"/><Relationship Id="rId18" Type="http://schemas.openxmlformats.org/officeDocument/2006/relationships/slideLayout" Target="../slideLayouts/slideLayout26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47.xml"/><Relationship Id="rId21" Type="http://schemas.openxmlformats.org/officeDocument/2006/relationships/theme" Target="../theme/theme17.xml"/><Relationship Id="rId7" Type="http://schemas.openxmlformats.org/officeDocument/2006/relationships/slideLayout" Target="../slideLayouts/slideLayout251.xml"/><Relationship Id="rId12" Type="http://schemas.openxmlformats.org/officeDocument/2006/relationships/slideLayout" Target="../slideLayouts/slideLayout256.xml"/><Relationship Id="rId17" Type="http://schemas.openxmlformats.org/officeDocument/2006/relationships/slideLayout" Target="../slideLayouts/slideLayout261.xml"/><Relationship Id="rId25" Type="http://schemas.openxmlformats.org/officeDocument/2006/relationships/oleObject" Target="../embeddings/oleObject15.bin"/><Relationship Id="rId2" Type="http://schemas.openxmlformats.org/officeDocument/2006/relationships/slideLayout" Target="../slideLayouts/slideLayout246.xml"/><Relationship Id="rId16" Type="http://schemas.openxmlformats.org/officeDocument/2006/relationships/slideLayout" Target="../slideLayouts/slideLayout260.xml"/><Relationship Id="rId20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45.xml"/><Relationship Id="rId6" Type="http://schemas.openxmlformats.org/officeDocument/2006/relationships/slideLayout" Target="../slideLayouts/slideLayout250.xml"/><Relationship Id="rId11" Type="http://schemas.openxmlformats.org/officeDocument/2006/relationships/slideLayout" Target="../slideLayouts/slideLayout255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249.xml"/><Relationship Id="rId15" Type="http://schemas.openxmlformats.org/officeDocument/2006/relationships/slideLayout" Target="../slideLayouts/slideLayout259.xml"/><Relationship Id="rId23" Type="http://schemas.openxmlformats.org/officeDocument/2006/relationships/tags" Target="../tags/tag15.xml"/><Relationship Id="rId10" Type="http://schemas.openxmlformats.org/officeDocument/2006/relationships/slideLayout" Target="../slideLayouts/slideLayout254.xml"/><Relationship Id="rId19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48.xml"/><Relationship Id="rId9" Type="http://schemas.openxmlformats.org/officeDocument/2006/relationships/slideLayout" Target="../slideLayouts/slideLayout253.xml"/><Relationship Id="rId14" Type="http://schemas.openxmlformats.org/officeDocument/2006/relationships/slideLayout" Target="../slideLayouts/slideLayout258.xml"/><Relationship Id="rId22" Type="http://schemas.openxmlformats.org/officeDocument/2006/relationships/vmlDrawing" Target="../drawings/vmlDrawing15.vml"/><Relationship Id="rId27" Type="http://schemas.openxmlformats.org/officeDocument/2006/relationships/image" Target="../media/image4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2.xml"/><Relationship Id="rId13" Type="http://schemas.openxmlformats.org/officeDocument/2006/relationships/slideLayout" Target="../slideLayouts/slideLayout277.xml"/><Relationship Id="rId18" Type="http://schemas.openxmlformats.org/officeDocument/2006/relationships/slideLayout" Target="../slideLayouts/slideLayout282.xml"/><Relationship Id="rId26" Type="http://schemas.openxmlformats.org/officeDocument/2006/relationships/image" Target="../media/image4.png"/><Relationship Id="rId3" Type="http://schemas.openxmlformats.org/officeDocument/2006/relationships/slideLayout" Target="../slideLayouts/slideLayout267.xml"/><Relationship Id="rId21" Type="http://schemas.openxmlformats.org/officeDocument/2006/relationships/vmlDrawing" Target="../drawings/vmlDrawing16.vml"/><Relationship Id="rId7" Type="http://schemas.openxmlformats.org/officeDocument/2006/relationships/slideLayout" Target="../slideLayouts/slideLayout271.xml"/><Relationship Id="rId12" Type="http://schemas.openxmlformats.org/officeDocument/2006/relationships/slideLayout" Target="../slideLayouts/slideLayout276.xml"/><Relationship Id="rId17" Type="http://schemas.openxmlformats.org/officeDocument/2006/relationships/slideLayout" Target="../slideLayouts/slideLayout28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66.xml"/><Relationship Id="rId16" Type="http://schemas.openxmlformats.org/officeDocument/2006/relationships/slideLayout" Target="../slideLayouts/slideLayout280.xml"/><Relationship Id="rId20" Type="http://schemas.openxmlformats.org/officeDocument/2006/relationships/theme" Target="../theme/theme18.xml"/><Relationship Id="rId1" Type="http://schemas.openxmlformats.org/officeDocument/2006/relationships/slideLayout" Target="../slideLayouts/slideLayout265.xml"/><Relationship Id="rId6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75.xml"/><Relationship Id="rId24" Type="http://schemas.openxmlformats.org/officeDocument/2006/relationships/oleObject" Target="../embeddings/oleObject16.bin"/><Relationship Id="rId5" Type="http://schemas.openxmlformats.org/officeDocument/2006/relationships/slideLayout" Target="../slideLayouts/slideLayout269.xml"/><Relationship Id="rId15" Type="http://schemas.openxmlformats.org/officeDocument/2006/relationships/slideLayout" Target="../slideLayouts/slideLayout279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274.xml"/><Relationship Id="rId19" Type="http://schemas.openxmlformats.org/officeDocument/2006/relationships/slideLayout" Target="../slideLayouts/slideLayout283.xml"/><Relationship Id="rId4" Type="http://schemas.openxmlformats.org/officeDocument/2006/relationships/slideLayout" Target="../slideLayouts/slideLayout268.xml"/><Relationship Id="rId9" Type="http://schemas.openxmlformats.org/officeDocument/2006/relationships/slideLayout" Target="../slideLayouts/slideLayout273.xml"/><Relationship Id="rId14" Type="http://schemas.openxmlformats.org/officeDocument/2006/relationships/slideLayout" Target="../slideLayouts/slideLayout278.xml"/><Relationship Id="rId22" Type="http://schemas.openxmlformats.org/officeDocument/2006/relationships/tags" Target="../tags/tag16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1.xml"/><Relationship Id="rId13" Type="http://schemas.openxmlformats.org/officeDocument/2006/relationships/slideLayout" Target="../slideLayouts/slideLayout296.xml"/><Relationship Id="rId18" Type="http://schemas.openxmlformats.org/officeDocument/2006/relationships/oleObject" Target="../embeddings/oleObject17.bin"/><Relationship Id="rId3" Type="http://schemas.openxmlformats.org/officeDocument/2006/relationships/slideLayout" Target="../slideLayouts/slideLayout286.xml"/><Relationship Id="rId7" Type="http://schemas.openxmlformats.org/officeDocument/2006/relationships/slideLayout" Target="../slideLayouts/slideLayout290.xml"/><Relationship Id="rId12" Type="http://schemas.openxmlformats.org/officeDocument/2006/relationships/slideLayout" Target="../slideLayouts/slideLayout295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85.xml"/><Relationship Id="rId16" Type="http://schemas.openxmlformats.org/officeDocument/2006/relationships/tags" Target="../tags/tag17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284.xml"/><Relationship Id="rId6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294.xml"/><Relationship Id="rId5" Type="http://schemas.openxmlformats.org/officeDocument/2006/relationships/slideLayout" Target="../slideLayouts/slideLayout288.xml"/><Relationship Id="rId15" Type="http://schemas.openxmlformats.org/officeDocument/2006/relationships/vmlDrawing" Target="../drawings/vmlDrawing17.vml"/><Relationship Id="rId10" Type="http://schemas.openxmlformats.org/officeDocument/2006/relationships/slideLayout" Target="../slideLayouts/slideLayout29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87.xml"/><Relationship Id="rId9" Type="http://schemas.openxmlformats.org/officeDocument/2006/relationships/slideLayout" Target="../slideLayouts/slideLayout292.xml"/><Relationship Id="rId1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2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vmlDrawing" Target="../drawings/vmlDrawing2.vml"/><Relationship Id="rId10" Type="http://schemas.openxmlformats.org/officeDocument/2006/relationships/slideLayout" Target="../slideLayouts/slideLayout29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slideLayout" Target="../slideLayouts/slideLayout309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299.xml"/><Relationship Id="rId21" Type="http://schemas.openxmlformats.org/officeDocument/2006/relationships/image" Target="../media/image4.png"/><Relationship Id="rId7" Type="http://schemas.openxmlformats.org/officeDocument/2006/relationships/slideLayout" Target="../slideLayouts/slideLayout303.xml"/><Relationship Id="rId12" Type="http://schemas.openxmlformats.org/officeDocument/2006/relationships/slideLayout" Target="../slideLayouts/slideLayout308.xml"/><Relationship Id="rId17" Type="http://schemas.openxmlformats.org/officeDocument/2006/relationships/tags" Target="../tags/tag18.xml"/><Relationship Id="rId2" Type="http://schemas.openxmlformats.org/officeDocument/2006/relationships/slideLayout" Target="../slideLayouts/slideLayout298.xml"/><Relationship Id="rId16" Type="http://schemas.openxmlformats.org/officeDocument/2006/relationships/vmlDrawing" Target="../drawings/vmlDrawing18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307.xml"/><Relationship Id="rId5" Type="http://schemas.openxmlformats.org/officeDocument/2006/relationships/slideLayout" Target="../slideLayouts/slideLayout301.xml"/><Relationship Id="rId15" Type="http://schemas.openxmlformats.org/officeDocument/2006/relationships/theme" Target="../theme/theme20.xml"/><Relationship Id="rId10" Type="http://schemas.openxmlformats.org/officeDocument/2006/relationships/slideLayout" Target="../slideLayouts/slideLayout306.xml"/><Relationship Id="rId19" Type="http://schemas.openxmlformats.org/officeDocument/2006/relationships/oleObject" Target="../embeddings/oleObject18.bin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slideLayout" Target="../slideLayouts/slideLayout31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8.xml"/><Relationship Id="rId13" Type="http://schemas.openxmlformats.org/officeDocument/2006/relationships/slideLayout" Target="../slideLayouts/slideLayout323.xml"/><Relationship Id="rId18" Type="http://schemas.openxmlformats.org/officeDocument/2006/relationships/oleObject" Target="../embeddings/oleObject19.bin"/><Relationship Id="rId3" Type="http://schemas.openxmlformats.org/officeDocument/2006/relationships/slideLayout" Target="../slideLayouts/slideLayout313.xml"/><Relationship Id="rId7" Type="http://schemas.openxmlformats.org/officeDocument/2006/relationships/slideLayout" Target="../slideLayouts/slideLayout317.xml"/><Relationship Id="rId12" Type="http://schemas.openxmlformats.org/officeDocument/2006/relationships/slideLayout" Target="../slideLayouts/slideLayout322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312.xml"/><Relationship Id="rId16" Type="http://schemas.openxmlformats.org/officeDocument/2006/relationships/tags" Target="../tags/tag19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311.xml"/><Relationship Id="rId6" Type="http://schemas.openxmlformats.org/officeDocument/2006/relationships/slideLayout" Target="../slideLayouts/slideLayout316.xml"/><Relationship Id="rId11" Type="http://schemas.openxmlformats.org/officeDocument/2006/relationships/slideLayout" Target="../slideLayouts/slideLayout321.xml"/><Relationship Id="rId5" Type="http://schemas.openxmlformats.org/officeDocument/2006/relationships/slideLayout" Target="../slideLayouts/slideLayout315.xml"/><Relationship Id="rId15" Type="http://schemas.openxmlformats.org/officeDocument/2006/relationships/vmlDrawing" Target="../drawings/vmlDrawing19.vml"/><Relationship Id="rId10" Type="http://schemas.openxmlformats.org/officeDocument/2006/relationships/slideLayout" Target="../slideLayouts/slideLayout32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14.xml"/><Relationship Id="rId9" Type="http://schemas.openxmlformats.org/officeDocument/2006/relationships/slideLayout" Target="../slideLayouts/slideLayout319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1.xml"/><Relationship Id="rId13" Type="http://schemas.openxmlformats.org/officeDocument/2006/relationships/slideLayout" Target="../slideLayouts/slideLayout336.xml"/><Relationship Id="rId18" Type="http://schemas.openxmlformats.org/officeDocument/2006/relationships/oleObject" Target="../embeddings/oleObject20.bin"/><Relationship Id="rId3" Type="http://schemas.openxmlformats.org/officeDocument/2006/relationships/slideLayout" Target="../slideLayouts/slideLayout326.xml"/><Relationship Id="rId7" Type="http://schemas.openxmlformats.org/officeDocument/2006/relationships/slideLayout" Target="../slideLayouts/slideLayout330.xml"/><Relationship Id="rId12" Type="http://schemas.openxmlformats.org/officeDocument/2006/relationships/slideLayout" Target="../slideLayouts/slideLayout335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325.xml"/><Relationship Id="rId16" Type="http://schemas.openxmlformats.org/officeDocument/2006/relationships/tags" Target="../tags/tag20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324.xml"/><Relationship Id="rId6" Type="http://schemas.openxmlformats.org/officeDocument/2006/relationships/slideLayout" Target="../slideLayouts/slideLayout329.xml"/><Relationship Id="rId11" Type="http://schemas.openxmlformats.org/officeDocument/2006/relationships/slideLayout" Target="../slideLayouts/slideLayout334.xml"/><Relationship Id="rId5" Type="http://schemas.openxmlformats.org/officeDocument/2006/relationships/slideLayout" Target="../slideLayouts/slideLayout328.xml"/><Relationship Id="rId15" Type="http://schemas.openxmlformats.org/officeDocument/2006/relationships/vmlDrawing" Target="../drawings/vmlDrawing20.vml"/><Relationship Id="rId10" Type="http://schemas.openxmlformats.org/officeDocument/2006/relationships/slideLayout" Target="../slideLayouts/slideLayout33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27.xml"/><Relationship Id="rId9" Type="http://schemas.openxmlformats.org/officeDocument/2006/relationships/slideLayout" Target="../slideLayouts/slideLayout332.xml"/><Relationship Id="rId1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1.vml"/><Relationship Id="rId1" Type="http://schemas.openxmlformats.org/officeDocument/2006/relationships/theme" Target="../theme/theme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image" Target="../media/image2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4.xml"/><Relationship Id="rId7" Type="http://schemas.openxmlformats.org/officeDocument/2006/relationships/oleObject" Target="../embeddings/oleObject22.bin"/><Relationship Id="rId2" Type="http://schemas.openxmlformats.org/officeDocument/2006/relationships/slideLayout" Target="../slideLayouts/slideLayout338.xml"/><Relationship Id="rId1" Type="http://schemas.openxmlformats.org/officeDocument/2006/relationships/slideLayout" Target="../slideLayouts/slideLayout337.xml"/><Relationship Id="rId6" Type="http://schemas.openxmlformats.org/officeDocument/2006/relationships/image" Target="../media/image2.jpeg"/><Relationship Id="rId5" Type="http://schemas.openxmlformats.org/officeDocument/2006/relationships/tags" Target="../tags/tag22.xml"/><Relationship Id="rId4" Type="http://schemas.openxmlformats.org/officeDocument/2006/relationships/vmlDrawing" Target="../drawings/vmlDrawing22.vml"/><Relationship Id="rId9" Type="http://schemas.openxmlformats.org/officeDocument/2006/relationships/image" Target="../media/image4.png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3.vml"/><Relationship Id="rId1" Type="http://schemas.openxmlformats.org/officeDocument/2006/relationships/theme" Target="../theme/theme2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image" Target="../media/image2.jpeg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4.vml"/><Relationship Id="rId1" Type="http://schemas.openxmlformats.org/officeDocument/2006/relationships/theme" Target="../theme/theme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2.jpeg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5.vml"/><Relationship Id="rId1" Type="http://schemas.openxmlformats.org/officeDocument/2006/relationships/theme" Target="../theme/theme2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2.jpeg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6.vml"/><Relationship Id="rId1" Type="http://schemas.openxmlformats.org/officeDocument/2006/relationships/theme" Target="../theme/theme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image" Target="../media/image2.jpeg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7.vml"/><Relationship Id="rId1" Type="http://schemas.openxmlformats.org/officeDocument/2006/relationships/theme" Target="../theme/theme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37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3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8.vml"/><Relationship Id="rId1" Type="http://schemas.openxmlformats.org/officeDocument/2006/relationships/theme" Target="../theme/theme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image" Target="../media/image2.jpeg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29.vml"/><Relationship Id="rId1" Type="http://schemas.openxmlformats.org/officeDocument/2006/relationships/theme" Target="../theme/theme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image" Target="../media/image2.jpeg"/></Relationships>
</file>

<file path=ppt/slideMasters/_rels/slideMaster3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30.vml"/><Relationship Id="rId1" Type="http://schemas.openxmlformats.org/officeDocument/2006/relationships/theme" Target="../theme/theme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2.jpeg"/></Relationships>
</file>

<file path=ppt/slideMasters/_rels/slideMaster3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4.png"/><Relationship Id="rId2" Type="http://schemas.openxmlformats.org/officeDocument/2006/relationships/vmlDrawing" Target="../drawings/vmlDrawing31.vml"/><Relationship Id="rId1" Type="http://schemas.openxmlformats.org/officeDocument/2006/relationships/theme" Target="../theme/theme3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43.xml"/><Relationship Id="rId16" Type="http://schemas.openxmlformats.org/officeDocument/2006/relationships/tags" Target="../tags/tag3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51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slideLayout" Target="../slideLayouts/slideLayout67.x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56.xml"/><Relationship Id="rId16" Type="http://schemas.openxmlformats.org/officeDocument/2006/relationships/tags" Target="../tags/tag4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5" Type="http://schemas.openxmlformats.org/officeDocument/2006/relationships/vmlDrawing" Target="../drawings/vmlDrawing4.vml"/><Relationship Id="rId10" Type="http://schemas.openxmlformats.org/officeDocument/2006/relationships/slideLayout" Target="../slideLayouts/slideLayout6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oleObject" Target="../embeddings/oleObject5.bin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69.xml"/><Relationship Id="rId16" Type="http://schemas.openxmlformats.org/officeDocument/2006/relationships/tags" Target="../tags/tag5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vmlDrawing" Target="../drawings/vmlDrawing5.vml"/><Relationship Id="rId10" Type="http://schemas.openxmlformats.org/officeDocument/2006/relationships/slideLayout" Target="../slideLayouts/slideLayout7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vmlDrawing" Target="../drawings/vmlDrawing6.v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theme" Target="../theme/theme7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oleObject" Target="../embeddings/oleObject6.bin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tags" Target="../tags/tag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02.xml"/><Relationship Id="rId21" Type="http://schemas.openxmlformats.org/officeDocument/2006/relationships/vmlDrawing" Target="../drawings/vmlDrawing7.v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24" Type="http://schemas.openxmlformats.org/officeDocument/2006/relationships/oleObject" Target="../embeddings/oleObject7.bin"/><Relationship Id="rId5" Type="http://schemas.openxmlformats.org/officeDocument/2006/relationships/slideLayout" Target="../slideLayouts/slideLayout104.xml"/><Relationship Id="rId15" Type="http://schemas.openxmlformats.org/officeDocument/2006/relationships/slideLayout" Target="../slideLayouts/slideLayout114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9.xml"/><Relationship Id="rId19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tags" Target="../tags/tag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21.xml"/><Relationship Id="rId21" Type="http://schemas.openxmlformats.org/officeDocument/2006/relationships/vmlDrawing" Target="../drawings/vmlDrawing8.v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24" Type="http://schemas.openxmlformats.org/officeDocument/2006/relationships/oleObject" Target="../embeddings/oleObject8.bin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41514729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8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060704"/>
            <a:ext cx="8639556" cy="1257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8641080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19140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8" r:id="rId2"/>
    <p:sldLayoutId id="2147484110" r:id="rId3"/>
    <p:sldLayoutId id="2147484111" r:id="rId4"/>
    <p:sldLayoutId id="2147484105" r:id="rId5"/>
    <p:sldLayoutId id="2147484137" r:id="rId6"/>
    <p:sldLayoutId id="2147484022" r:id="rId7"/>
    <p:sldLayoutId id="2147484109" r:id="rId8"/>
    <p:sldLayoutId id="2147484024" r:id="rId9"/>
    <p:sldLayoutId id="2147484025" r:id="rId10"/>
    <p:sldLayoutId id="2147484026" r:id="rId11"/>
    <p:sldLayoutId id="2147484028" r:id="rId12"/>
    <p:sldLayoutId id="2147484030" r:id="rId13"/>
    <p:sldLayoutId id="2147484031" r:id="rId14"/>
    <p:sldLayoutId id="2147484131" r:id="rId15"/>
    <p:sldLayoutId id="2147484112" r:id="rId16"/>
    <p:sldLayoutId id="2147484132" r:id="rId17"/>
    <p:sldLayoutId id="2147484133" r:id="rId18"/>
    <p:sldLayoutId id="2147484029" r:id="rId19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8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2pPr>
      <a:lvl3pPr marL="658368" indent="-1714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400">
          <a:solidFill>
            <a:schemeClr val="bg2"/>
          </a:solidFill>
          <a:latin typeface="+mn-lt"/>
        </a:defRPr>
      </a:lvl3pPr>
      <a:lvl4pPr marL="877824" indent="-20320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400">
          <a:solidFill>
            <a:schemeClr val="bg2"/>
          </a:solidFill>
          <a:latin typeface="+mn-lt"/>
        </a:defRPr>
      </a:lvl4pPr>
      <a:lvl5pPr marL="1028700" indent="-142875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4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3" y="1092764"/>
            <a:ext cx="8430768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black">
          <a:xfrm>
            <a:off x="237744" y="292894"/>
            <a:ext cx="7513389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Rectangle 3"/>
          <p:cNvSpPr>
            <a:spLocks noChangeArrowheads="1"/>
          </p:cNvSpPr>
          <p:nvPr userDrawn="1"/>
        </p:nvSpPr>
        <p:spPr bwMode="black">
          <a:xfrm>
            <a:off x="414198" y="4962527"/>
            <a:ext cx="130324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309837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  <p:sldLayoutId id="2147484256" r:id="rId11"/>
    <p:sldLayoutId id="2147484257" r:id="rId12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600">
          <a:solidFill>
            <a:srgbClr val="5C5C5C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460375" indent="-233363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rgbClr val="808080"/>
        </a:buClr>
        <a:buFont typeface="Arial" charset="0"/>
        <a:buChar char="–"/>
        <a:defRPr sz="1600">
          <a:solidFill>
            <a:schemeClr val="bg2"/>
          </a:solidFill>
          <a:latin typeface="Segoe UI" panose="020B0502040204020203" pitchFamily="34" charset="0"/>
          <a:cs typeface="Segoe UI" panose="020B0502040204020203" pitchFamily="34" charset="0"/>
        </a:defRPr>
      </a:lvl2pPr>
      <a:lvl3pPr marL="628650" indent="-168275" algn="l" rtl="0" eaLnBrk="1" fontAlgn="base" hangingPunct="1">
        <a:lnSpc>
          <a:spcPct val="100000"/>
        </a:lnSpc>
        <a:spcBef>
          <a:spcPts val="0"/>
        </a:spcBef>
        <a:spcAft>
          <a:spcPts val="0"/>
        </a:spcAft>
        <a:buClr>
          <a:srgbClr val="808080"/>
        </a:buClr>
        <a:buFont typeface="Arial" charset="0"/>
        <a:buChar char="•"/>
        <a:defRPr sz="1600">
          <a:solidFill>
            <a:schemeClr val="bg2"/>
          </a:solidFill>
          <a:latin typeface="Segoe UI" panose="020B0502040204020203" pitchFamily="34" charset="0"/>
          <a:cs typeface="Segoe UI" panose="020B0502040204020203" pitchFamily="34" charset="0"/>
        </a:defRPr>
      </a:lvl3pPr>
      <a:lvl4pPr marL="1326564" indent="-204087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100000"/>
        <a:buFont typeface="Arial" charset="0"/>
        <a:buChar char="•"/>
        <a:defRPr sz="1900">
          <a:solidFill>
            <a:schemeClr val="tx2"/>
          </a:solidFill>
          <a:latin typeface="+mn-lt"/>
        </a:defRPr>
      </a:lvl4pPr>
      <a:lvl5pPr marL="162560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8763677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69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8" y="4962527"/>
            <a:ext cx="127118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All-Staff Meeting | July 1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620338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9" r:id="rId1"/>
    <p:sldLayoutId id="2147484260" r:id="rId2"/>
    <p:sldLayoutId id="2147484261" r:id="rId3"/>
    <p:sldLayoutId id="2147484262" r:id="rId4"/>
    <p:sldLayoutId id="2147484263" r:id="rId5"/>
    <p:sldLayoutId id="2147484264" r:id="rId6"/>
    <p:sldLayoutId id="2147484265" r:id="rId7"/>
    <p:sldLayoutId id="2147484266" r:id="rId8"/>
    <p:sldLayoutId id="2147484267" r:id="rId9"/>
    <p:sldLayoutId id="2147484268" r:id="rId10"/>
    <p:sldLayoutId id="2147484269" r:id="rId11"/>
    <p:sldLayoutId id="2147484270" r:id="rId12"/>
    <p:sldLayoutId id="2147484271" r:id="rId13"/>
    <p:sldLayoutId id="2147484272" r:id="rId14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3466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48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8" y="4962527"/>
            <a:ext cx="130324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07636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4" r:id="rId1"/>
    <p:sldLayoutId id="2147484275" r:id="rId2"/>
    <p:sldLayoutId id="2147484276" r:id="rId3"/>
    <p:sldLayoutId id="2147484277" r:id="rId4"/>
    <p:sldLayoutId id="2147484278" r:id="rId5"/>
    <p:sldLayoutId id="2147484279" r:id="rId6"/>
    <p:sldLayoutId id="2147484280" r:id="rId7"/>
    <p:sldLayoutId id="2147484281" r:id="rId8"/>
    <p:sldLayoutId id="2147484282" r:id="rId9"/>
    <p:sldLayoutId id="2147484283" r:id="rId10"/>
    <p:sldLayoutId id="2147484284" r:id="rId11"/>
    <p:sldLayoutId id="2147484285" r:id="rId12"/>
    <p:sldLayoutId id="2147484286" r:id="rId1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546144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60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30003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</a:rPr>
              <a:t>| </a:t>
            </a:r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33194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8" r:id="rId1"/>
    <p:sldLayoutId id="2147484289" r:id="rId2"/>
    <p:sldLayoutId id="2147484290" r:id="rId3"/>
    <p:sldLayoutId id="2147484291" r:id="rId4"/>
    <p:sldLayoutId id="2147484292" r:id="rId5"/>
    <p:sldLayoutId id="2147484293" r:id="rId6"/>
    <p:sldLayoutId id="2147484294" r:id="rId7"/>
    <p:sldLayoutId id="2147484295" r:id="rId8"/>
    <p:sldLayoutId id="2147484296" r:id="rId9"/>
    <p:sldLayoutId id="2147484297" r:id="rId10"/>
    <p:sldLayoutId id="2147484298" r:id="rId11"/>
    <p:sldLayoutId id="2147484299" r:id="rId12"/>
    <p:sldLayoutId id="2147484300" r:id="rId1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556050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76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30003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</a:rPr>
              <a:t>| </a:t>
            </a:r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70039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3" r:id="rId1"/>
    <p:sldLayoutId id="2147484304" r:id="rId2"/>
    <p:sldLayoutId id="2147484305" r:id="rId3"/>
    <p:sldLayoutId id="2147484306" r:id="rId4"/>
    <p:sldLayoutId id="2147484307" r:id="rId5"/>
    <p:sldLayoutId id="2147484308" r:id="rId6"/>
    <p:sldLayoutId id="2147484309" r:id="rId7"/>
    <p:sldLayoutId id="2147484310" r:id="rId8"/>
    <p:sldLayoutId id="2147484311" r:id="rId9"/>
    <p:sldLayoutId id="2147484312" r:id="rId10"/>
    <p:sldLayoutId id="2147484313" r:id="rId11"/>
    <p:sldLayoutId id="2147484314" r:id="rId12"/>
    <p:sldLayoutId id="2147484315" r:id="rId13"/>
    <p:sldLayoutId id="2147484316" r:id="rId14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8924149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02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060704"/>
            <a:ext cx="8639556" cy="1257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8641080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758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8" r:id="rId1"/>
    <p:sldLayoutId id="2147484319" r:id="rId2"/>
    <p:sldLayoutId id="2147484320" r:id="rId3"/>
    <p:sldLayoutId id="2147484321" r:id="rId4"/>
    <p:sldLayoutId id="2147484322" r:id="rId5"/>
    <p:sldLayoutId id="2147484323" r:id="rId6"/>
    <p:sldLayoutId id="2147484324" r:id="rId7"/>
    <p:sldLayoutId id="2147484325" r:id="rId8"/>
    <p:sldLayoutId id="2147484326" r:id="rId9"/>
    <p:sldLayoutId id="2147484327" r:id="rId10"/>
    <p:sldLayoutId id="2147484328" r:id="rId11"/>
    <p:sldLayoutId id="2147484329" r:id="rId12"/>
    <p:sldLayoutId id="2147484330" r:id="rId13"/>
    <p:sldLayoutId id="2147484331" r:id="rId14"/>
    <p:sldLayoutId id="2147484332" r:id="rId15"/>
    <p:sldLayoutId id="2147484333" r:id="rId16"/>
    <p:sldLayoutId id="2147484334" r:id="rId17"/>
    <p:sldLayoutId id="2147484335" r:id="rId18"/>
    <p:sldLayoutId id="2147484336" r:id="rId19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8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2pPr>
      <a:lvl3pPr marL="658368" indent="-1714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400">
          <a:solidFill>
            <a:schemeClr val="bg2"/>
          </a:solidFill>
          <a:latin typeface="+mn-lt"/>
        </a:defRPr>
      </a:lvl3pPr>
      <a:lvl4pPr marL="877824" indent="-20320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400">
          <a:solidFill>
            <a:schemeClr val="bg2"/>
          </a:solidFill>
          <a:latin typeface="+mn-lt"/>
        </a:defRPr>
      </a:lvl4pPr>
      <a:lvl5pPr marL="1028700" indent="-142875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4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988083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22" name="think-cell Slide" r:id="rId27" imgW="360" imgH="360" progId="">
                  <p:embed/>
                </p:oleObj>
              </mc:Choice>
              <mc:Fallback>
                <p:oleObj name="think-cell Slide" r:id="rId2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060704"/>
            <a:ext cx="8639556" cy="1257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8641080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black">
          <a:xfrm>
            <a:off x="414198" y="4962527"/>
            <a:ext cx="130003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</a:rPr>
              <a:t> </a:t>
            </a:r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06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1" r:id="rId1"/>
    <p:sldLayoutId id="2147484342" r:id="rId2"/>
    <p:sldLayoutId id="2147484343" r:id="rId3"/>
    <p:sldLayoutId id="2147484344" r:id="rId4"/>
    <p:sldLayoutId id="2147484345" r:id="rId5"/>
    <p:sldLayoutId id="2147484346" r:id="rId6"/>
    <p:sldLayoutId id="2147484347" r:id="rId7"/>
    <p:sldLayoutId id="2147484348" r:id="rId8"/>
    <p:sldLayoutId id="2147484349" r:id="rId9"/>
    <p:sldLayoutId id="2147484350" r:id="rId10"/>
    <p:sldLayoutId id="2147484351" r:id="rId11"/>
    <p:sldLayoutId id="2147484352" r:id="rId12"/>
    <p:sldLayoutId id="2147484353" r:id="rId13"/>
    <p:sldLayoutId id="2147484354" r:id="rId14"/>
    <p:sldLayoutId id="2147484355" r:id="rId15"/>
    <p:sldLayoutId id="2147484356" r:id="rId16"/>
    <p:sldLayoutId id="2147484357" r:id="rId17"/>
    <p:sldLayoutId id="2147484358" r:id="rId18"/>
    <p:sldLayoutId id="2147484359" r:id="rId19"/>
    <p:sldLayoutId id="2147484360" r:id="rId20"/>
    <p:sldLayoutId id="2147484361" r:id="rId21"/>
    <p:sldLayoutId id="2147484362" r:id="rId22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8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2pPr>
      <a:lvl3pPr marL="658368" indent="-1714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400">
          <a:solidFill>
            <a:schemeClr val="bg2"/>
          </a:solidFill>
          <a:latin typeface="+mn-lt"/>
        </a:defRPr>
      </a:lvl3pPr>
      <a:lvl4pPr marL="877824" indent="-20320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400">
          <a:solidFill>
            <a:schemeClr val="bg2"/>
          </a:solidFill>
          <a:latin typeface="+mn-lt"/>
        </a:defRPr>
      </a:lvl4pPr>
      <a:lvl5pPr marL="1028700" indent="-142875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4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409419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42" name="think-cell Slide" r:id="rId25" imgW="360" imgH="360" progId="">
                  <p:embed/>
                </p:oleObj>
              </mc:Choice>
              <mc:Fallback>
                <p:oleObj name="think-cell Slide" r:id="rId2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060704"/>
            <a:ext cx="8639556" cy="1257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184370"/>
            <a:ext cx="8641080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black">
          <a:xfrm>
            <a:off x="414198" y="4962527"/>
            <a:ext cx="67326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BBV  |  June 2014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99886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  <p:sldLayoutId id="2147484386" r:id="rId2"/>
    <p:sldLayoutId id="2147484387" r:id="rId3"/>
    <p:sldLayoutId id="2147484388" r:id="rId4"/>
    <p:sldLayoutId id="2147484389" r:id="rId5"/>
    <p:sldLayoutId id="2147484390" r:id="rId6"/>
    <p:sldLayoutId id="2147484391" r:id="rId7"/>
    <p:sldLayoutId id="2147484392" r:id="rId8"/>
    <p:sldLayoutId id="2147484393" r:id="rId9"/>
    <p:sldLayoutId id="2147484394" r:id="rId10"/>
    <p:sldLayoutId id="2147484395" r:id="rId11"/>
    <p:sldLayoutId id="2147484396" r:id="rId12"/>
    <p:sldLayoutId id="2147484397" r:id="rId13"/>
    <p:sldLayoutId id="2147484398" r:id="rId14"/>
    <p:sldLayoutId id="2147484399" r:id="rId15"/>
    <p:sldLayoutId id="2147484400" r:id="rId16"/>
    <p:sldLayoutId id="2147484401" r:id="rId17"/>
    <p:sldLayoutId id="2147484402" r:id="rId18"/>
    <p:sldLayoutId id="2147484403" r:id="rId19"/>
    <p:sldLayoutId id="2147484404" r:id="rId20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8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2pPr>
      <a:lvl3pPr marL="658368" indent="-1714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400">
          <a:solidFill>
            <a:schemeClr val="bg2"/>
          </a:solidFill>
          <a:latin typeface="+mn-lt"/>
        </a:defRPr>
      </a:lvl3pPr>
      <a:lvl4pPr marL="877824" indent="-20320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400">
          <a:solidFill>
            <a:schemeClr val="bg2"/>
          </a:solidFill>
          <a:latin typeface="+mn-lt"/>
        </a:defRPr>
      </a:lvl4pPr>
      <a:lvl5pPr marL="1028700" indent="-142875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4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409419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266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060704"/>
            <a:ext cx="8639556" cy="1257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184370"/>
            <a:ext cx="8641080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black">
          <a:xfrm>
            <a:off x="414198" y="4962527"/>
            <a:ext cx="1280800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</a:rPr>
              <a:t> </a:t>
            </a:r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8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5998861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4" r:id="rId1"/>
    <p:sldLayoutId id="2147484365" r:id="rId2"/>
    <p:sldLayoutId id="2147484366" r:id="rId3"/>
    <p:sldLayoutId id="2147484367" r:id="rId4"/>
    <p:sldLayoutId id="2147484368" r:id="rId5"/>
    <p:sldLayoutId id="2147484369" r:id="rId6"/>
    <p:sldLayoutId id="2147484370" r:id="rId7"/>
    <p:sldLayoutId id="2147484371" r:id="rId8"/>
    <p:sldLayoutId id="2147484372" r:id="rId9"/>
    <p:sldLayoutId id="2147484373" r:id="rId10"/>
    <p:sldLayoutId id="2147484374" r:id="rId11"/>
    <p:sldLayoutId id="2147484375" r:id="rId12"/>
    <p:sldLayoutId id="2147484376" r:id="rId13"/>
    <p:sldLayoutId id="2147484377" r:id="rId14"/>
    <p:sldLayoutId id="2147484378" r:id="rId15"/>
    <p:sldLayoutId id="2147484379" r:id="rId16"/>
    <p:sldLayoutId id="2147484380" r:id="rId17"/>
    <p:sldLayoutId id="2147484381" r:id="rId18"/>
    <p:sldLayoutId id="2147484382" r:id="rId19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8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2pPr>
      <a:lvl3pPr marL="658368" indent="-1714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400">
          <a:solidFill>
            <a:schemeClr val="bg2"/>
          </a:solidFill>
          <a:latin typeface="+mn-lt"/>
        </a:defRPr>
      </a:lvl3pPr>
      <a:lvl4pPr marL="877824" indent="-20320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400">
          <a:solidFill>
            <a:schemeClr val="bg2"/>
          </a:solidFill>
          <a:latin typeface="+mn-lt"/>
        </a:defRPr>
      </a:lvl4pPr>
      <a:lvl5pPr marL="1028700" indent="-142875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4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6254572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83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8" y="4962527"/>
            <a:ext cx="127919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426853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6" r:id="rId1"/>
    <p:sldLayoutId id="2147484407" r:id="rId2"/>
    <p:sldLayoutId id="2147484408" r:id="rId3"/>
    <p:sldLayoutId id="2147484409" r:id="rId4"/>
    <p:sldLayoutId id="2147484410" r:id="rId5"/>
    <p:sldLayoutId id="2147484411" r:id="rId6"/>
    <p:sldLayoutId id="2147484412" r:id="rId7"/>
    <p:sldLayoutId id="2147484413" r:id="rId8"/>
    <p:sldLayoutId id="2147484414" r:id="rId9"/>
    <p:sldLayoutId id="2147484415" r:id="rId10"/>
    <p:sldLayoutId id="2147484416" r:id="rId11"/>
    <p:sldLayoutId id="2147484417" r:id="rId12"/>
    <p:sldLayoutId id="2147484418" r:id="rId1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8083865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1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8" y="4962527"/>
            <a:ext cx="1484381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 Presentation Title  |  Month XX,</a:t>
            </a:r>
            <a:r>
              <a:rPr lang="en-US" sz="700" baseline="0" dirty="0" smtClean="0">
                <a:solidFill>
                  <a:schemeClr val="bg2"/>
                </a:solidFill>
                <a:latin typeface="+mn-lt"/>
              </a:rPr>
              <a:t> Year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37685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85" r:id="rId2"/>
    <p:sldLayoutId id="2147484057" r:id="rId3"/>
    <p:sldLayoutId id="2147484075" r:id="rId4"/>
    <p:sldLayoutId id="2147484061" r:id="rId5"/>
    <p:sldLayoutId id="2147484081" r:id="rId6"/>
    <p:sldLayoutId id="2147484082" r:id="rId7"/>
    <p:sldLayoutId id="2147484064" r:id="rId8"/>
    <p:sldLayoutId id="2147484083" r:id="rId9"/>
    <p:sldLayoutId id="2147484084" r:id="rId10"/>
    <p:sldLayoutId id="2147484134" r:id="rId11"/>
    <p:sldLayoutId id="2147484086" r:id="rId12"/>
    <p:sldLayoutId id="2147484135" r:id="rId1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8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72470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8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30003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</a:rPr>
              <a:t> </a:t>
            </a:r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997357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0" r:id="rId1"/>
    <p:sldLayoutId id="2147484421" r:id="rId2"/>
    <p:sldLayoutId id="2147484422" r:id="rId3"/>
    <p:sldLayoutId id="2147484423" r:id="rId4"/>
    <p:sldLayoutId id="2147484424" r:id="rId5"/>
    <p:sldLayoutId id="2147484425" r:id="rId6"/>
    <p:sldLayoutId id="2147484426" r:id="rId7"/>
    <p:sldLayoutId id="2147484427" r:id="rId8"/>
    <p:sldLayoutId id="2147484428" r:id="rId9"/>
    <p:sldLayoutId id="2147484429" r:id="rId10"/>
    <p:sldLayoutId id="2147484430" r:id="rId11"/>
    <p:sldLayoutId id="2147484431" r:id="rId12"/>
    <p:sldLayoutId id="2147484432" r:id="rId13"/>
    <p:sldLayoutId id="2147484433" r:id="rId14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6343628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64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8" y="4962527"/>
            <a:ext cx="127919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524043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6" r:id="rId1"/>
    <p:sldLayoutId id="2147484437" r:id="rId2"/>
    <p:sldLayoutId id="2147484438" r:id="rId3"/>
    <p:sldLayoutId id="2147484439" r:id="rId4"/>
    <p:sldLayoutId id="2147484440" r:id="rId5"/>
    <p:sldLayoutId id="2147484441" r:id="rId6"/>
    <p:sldLayoutId id="2147484442" r:id="rId7"/>
    <p:sldLayoutId id="2147484443" r:id="rId8"/>
    <p:sldLayoutId id="2147484444" r:id="rId9"/>
    <p:sldLayoutId id="2147484445" r:id="rId10"/>
    <p:sldLayoutId id="2147484446" r:id="rId11"/>
    <p:sldLayoutId id="2147484447" r:id="rId12"/>
    <p:sldLayoutId id="2147484448" r:id="rId1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50968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65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8" y="4962527"/>
            <a:ext cx="127919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66729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  <p:sldLayoutId id="2147484460" r:id="rId9"/>
    <p:sldLayoutId id="2147484461" r:id="rId10"/>
    <p:sldLayoutId id="2147484462" r:id="rId11"/>
    <p:sldLayoutId id="2147484463" r:id="rId12"/>
    <p:sldLayoutId id="2147484464" r:id="rId1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50559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8" y="4962527"/>
            <a:ext cx="127919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108992057"/>
      </p:ext>
    </p:extLst>
  </p:cSld>
  <p:clrMap bg1="lt1" tx1="dk1" bg2="lt2" tx2="dk2" accent1="accent1" accent2="accent2" accent3="accent3" accent4="accent4" accent5="accent5" accent6="accent6" hlink="hlink" folHlink="folHlink"/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808386548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0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9"/>
            <a:ext cx="8639556" cy="167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2" y="184371"/>
            <a:ext cx="7909561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5" y="4962527"/>
            <a:ext cx="66845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9" y="191078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9" y="4962527"/>
            <a:ext cx="137858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YTD All-Staff  |  December 11, 2015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37685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9" r:id="rId1"/>
    <p:sldLayoutId id="2147484489" r:id="rId2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8386548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3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9"/>
            <a:ext cx="8639556" cy="167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2" y="184371"/>
            <a:ext cx="7909561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5" y="4962527"/>
            <a:ext cx="66845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9" y="191078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9" y="4962527"/>
            <a:ext cx="137858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YTD All-Staff  |  December 11, 2015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37685956"/>
      </p:ext>
    </p:extLst>
  </p:cSld>
  <p:clrMap bg1="lt1" tx1="dk1" bg2="lt2" tx2="dk2" accent1="accent1" accent2="accent2" accent3="accent3" accent4="accent4" accent5="accent5" accent6="accent6" hlink="hlink" folHlink="folHlink"/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8386548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5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9"/>
            <a:ext cx="8639556" cy="167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2" y="184371"/>
            <a:ext cx="7909561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5" y="4962527"/>
            <a:ext cx="66845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9" y="191078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9" y="4962527"/>
            <a:ext cx="137858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YTD All-Staff  |  December 11, 2015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37685956"/>
      </p:ext>
    </p:extLst>
  </p:cSld>
  <p:clrMap bg1="lt1" tx1="dk1" bg2="lt2" tx2="dk2" accent1="accent1" accent2="accent2" accent3="accent3" accent4="accent4" accent5="accent5" accent6="accent6" hlink="hlink" folHlink="folHlink"/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8386548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8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9"/>
            <a:ext cx="8639556" cy="167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2" y="184371"/>
            <a:ext cx="7909561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5" y="4962527"/>
            <a:ext cx="66845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9" y="191078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9" y="4962527"/>
            <a:ext cx="1354538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YTD All-Staff  | December 11, 2015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37685956"/>
      </p:ext>
    </p:extLst>
  </p:cSld>
  <p:clrMap bg1="lt1" tx1="dk1" bg2="lt2" tx2="dk2" accent1="accent1" accent2="accent2" accent3="accent3" accent4="accent4" accent5="accent5" accent6="accent6" hlink="hlink" folHlink="folHlink"/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8386548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9"/>
            <a:ext cx="8639556" cy="167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2" y="184371"/>
            <a:ext cx="7909561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5" y="4962527"/>
            <a:ext cx="66845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9" y="191078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9" y="4962527"/>
            <a:ext cx="186589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November 2014 All-Staff  |  November 6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37685956"/>
      </p:ext>
    </p:extLst>
  </p:cSld>
  <p:clrMap bg1="lt1" tx1="dk1" bg2="lt2" tx2="dk2" accent1="accent1" accent2="accent2" accent3="accent3" accent4="accent4" accent5="accent5" accent6="accent6" hlink="hlink" folHlink="folHlink"/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8386548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9"/>
            <a:ext cx="8639556" cy="167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2" y="184371"/>
            <a:ext cx="7909561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5" y="4962527"/>
            <a:ext cx="66845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9" y="191078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9" y="4962527"/>
            <a:ext cx="186589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November 2014 All-Staff  |  November 6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37685956"/>
      </p:ext>
    </p:extLst>
  </p:cSld>
  <p:clrMap bg1="lt1" tx1="dk1" bg2="lt2" tx2="dk2" accent1="accent1" accent2="accent2" accent3="accent3" accent4="accent4" accent5="accent5" accent6="accent6" hlink="hlink" folHlink="folHlink"/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1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878205"/>
            <a:ext cx="8686800" cy="980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8686800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chemeClr val="bg2"/>
                </a:solidFill>
                <a:latin typeface="+mn-lt"/>
              </a:rPr>
              <a:t>Visa Confidential</a:t>
            </a:r>
            <a:endParaRPr lang="en-US" sz="7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4836505"/>
            <a:ext cx="676656" cy="219913"/>
          </a:xfrm>
          <a:prstGeom prst="rect">
            <a:avLst/>
          </a:prstGeom>
        </p:spPr>
      </p:pic>
      <p:sp>
        <p:nvSpPr>
          <p:cNvPr id="10" name="Rectangle 9"/>
          <p:cNvSpPr>
            <a:spLocks noChangeArrowheads="1"/>
          </p:cNvSpPr>
          <p:nvPr/>
        </p:nvSpPr>
        <p:spPr bwMode="black">
          <a:xfrm>
            <a:off x="414198" y="4962527"/>
            <a:ext cx="133049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YTD All-Staff| </a:t>
            </a:r>
            <a:r>
              <a:rPr lang="en-US" sz="70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December 11, 2015</a:t>
            </a:r>
            <a:endParaRPr lang="en-US" sz="700" kern="120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52701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37" r:id="rId2"/>
    <p:sldLayoutId id="2147484138" r:id="rId3"/>
    <p:sldLayoutId id="2147484139" r:id="rId4"/>
    <p:sldLayoutId id="2147484007" r:id="rId5"/>
    <p:sldLayoutId id="2147484019" r:id="rId6"/>
    <p:sldLayoutId id="2147484140" r:id="rId7"/>
    <p:sldLayoutId id="2147484014" r:id="rId8"/>
    <p:sldLayoutId id="2147484136" r:id="rId9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117475" indent="-117475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400">
          <a:solidFill>
            <a:schemeClr val="bg2"/>
          </a:solidFill>
          <a:latin typeface="+mn-lt"/>
          <a:ea typeface="+mn-ea"/>
          <a:cs typeface="+mn-cs"/>
        </a:defRPr>
      </a:lvl1pPr>
      <a:lvl2pPr marL="339725" indent="-1698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200">
          <a:solidFill>
            <a:schemeClr val="bg2"/>
          </a:solidFill>
          <a:latin typeface="+mn-lt"/>
        </a:defRPr>
      </a:lvl2pPr>
      <a:lvl3pPr marL="452438" indent="-104775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000">
          <a:solidFill>
            <a:schemeClr val="bg2"/>
          </a:solidFill>
          <a:latin typeface="+mn-lt"/>
        </a:defRPr>
      </a:lvl3pPr>
      <a:lvl4pPr marL="612648" indent="-1444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Arial" panose="020B0604020202020204" pitchFamily="34" charset="0"/>
        <a:buChar char="–"/>
        <a:defRPr sz="1000">
          <a:solidFill>
            <a:schemeClr val="bg2"/>
          </a:solidFill>
          <a:latin typeface="+mn-lt"/>
        </a:defRPr>
      </a:lvl4pPr>
      <a:lvl5pPr marL="742950" indent="-11430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tx2"/>
        </a:buClr>
        <a:buSzPct val="90000"/>
        <a:buFont typeface="Arial" panose="020B0604020202020204" pitchFamily="34" charset="0"/>
        <a:buChar char="•"/>
        <a:defRPr sz="1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8386548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9"/>
            <a:ext cx="8639556" cy="167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2" y="184371"/>
            <a:ext cx="7909561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5" y="4962527"/>
            <a:ext cx="66845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9" y="191078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9" y="4962527"/>
            <a:ext cx="186589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November 2014 All-Staff  |  November 6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37685956"/>
      </p:ext>
    </p:extLst>
  </p:cSld>
  <p:clrMap bg1="lt1" tx1="dk1" bg2="lt2" tx2="dk2" accent1="accent1" accent2="accent2" accent3="accent3" accent4="accent4" accent5="accent5" accent6="accent6" hlink="hlink" folHlink="folHlink"/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8386548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7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9"/>
            <a:ext cx="8639556" cy="167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2" y="184371"/>
            <a:ext cx="7909561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5" y="4962527"/>
            <a:ext cx="66845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9" y="191078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9" y="4962527"/>
            <a:ext cx="186589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November 2014 All-Staff  |  November 6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37685956"/>
      </p:ext>
    </p:extLst>
  </p:cSld>
  <p:clrMap bg1="lt1" tx1="dk1" bg2="lt2" tx2="dk2" accent1="accent1" accent2="accent2" accent3="accent3" accent4="accent4" accent5="accent5" accent6="accent6" hlink="hlink" folHlink="folHlink"/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8386548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9"/>
            <a:ext cx="8639556" cy="167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2" y="184371"/>
            <a:ext cx="7909561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5" y="4962527"/>
            <a:ext cx="66845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9" y="191078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9" y="4962527"/>
            <a:ext cx="186589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November 2014 All-Staff  |  November 6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37685956"/>
      </p:ext>
    </p:extLst>
  </p:cSld>
  <p:clrMap bg1="lt1" tx1="dk1" bg2="lt2" tx2="dk2" accent1="accent1" accent2="accent2" accent3="accent3" accent4="accent4" accent5="accent5" accent6="accent6" hlink="hlink" folHlink="folHlink"/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808386548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2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9"/>
            <a:ext cx="8639556" cy="16732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2" y="184371"/>
            <a:ext cx="7909561" cy="443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5" y="4962527"/>
            <a:ext cx="66845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9" y="191078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9" y="4962527"/>
            <a:ext cx="1865895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November 2014 All-Staff  |  November 6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237685956"/>
      </p:ext>
    </p:extLst>
  </p:cSld>
  <p:clrMap bg1="lt1" tx1="dk1" bg2="lt2" tx2="dk2" accent1="accent1" accent2="accent2" accent3="accent3" accent4="accent4" accent5="accent5" accent6="accent6" hlink="hlink" folHlink="folHlink"/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017025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3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12" name="Rectangle 11"/>
          <p:cNvSpPr>
            <a:spLocks noChangeArrowheads="1"/>
          </p:cNvSpPr>
          <p:nvPr/>
        </p:nvSpPr>
        <p:spPr bwMode="black">
          <a:xfrm>
            <a:off x="414198" y="4962527"/>
            <a:ext cx="1304844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kern="1200" dirty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All-Staff Meeting |</a:t>
            </a:r>
            <a:r>
              <a:rPr lang="en-US" sz="700" kern="1200" baseline="0" dirty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 May 15, 2014</a:t>
            </a:r>
            <a:endParaRPr lang="en-US" sz="700" kern="1200" dirty="0">
              <a:solidFill>
                <a:schemeClr val="bg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/>
            <a:fld id="{8E9DF562-4D88-4A5A-AAF6-44DA0968931F}" type="slidenum">
              <a:rPr lang="en-US" sz="700" smtClean="0">
                <a:solidFill>
                  <a:schemeClr val="bg2"/>
                </a:solidFill>
                <a:latin typeface="+mn-lt"/>
              </a:rPr>
              <a:pPr algn="l"/>
              <a:t>‹#›</a:t>
            </a:fld>
            <a:endParaRPr lang="en-US" sz="7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062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  <p:sldLayoutId id="2147484150" r:id="rId9"/>
    <p:sldLayoutId id="2147484151" r:id="rId10"/>
    <p:sldLayoutId id="2147484152" r:id="rId11"/>
    <p:sldLayoutId id="2147484153" r:id="rId12"/>
    <p:sldLayoutId id="2147484154" r:id="rId1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9801550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4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  <p:sp>
        <p:nvSpPr>
          <p:cNvPr id="9" name="Rectangle 8"/>
          <p:cNvSpPr>
            <a:spLocks noChangeArrowheads="1"/>
          </p:cNvSpPr>
          <p:nvPr userDrawn="1"/>
        </p:nvSpPr>
        <p:spPr bwMode="black">
          <a:xfrm>
            <a:off x="414198" y="4962527"/>
            <a:ext cx="1300036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</a:rPr>
              <a:t>| </a:t>
            </a:r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All-Staff Meeting | Aug. 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260850" y="4962527"/>
            <a:ext cx="110608" cy="10772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fld id="{8E9DF562-4D88-4A5A-AAF6-44DA0968931F}" type="slidenum">
              <a:rPr lang="en-US" sz="700" smtClean="0">
                <a:solidFill>
                  <a:srgbClr val="5C5C5C"/>
                </a:solidFill>
                <a:latin typeface="Segoe UI"/>
              </a:rPr>
              <a:pPr/>
              <a:t>‹#›</a:t>
            </a:fld>
            <a:endParaRPr lang="en-US" sz="700" dirty="0" smtClean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8849325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6" r:id="rId1"/>
    <p:sldLayoutId id="2147484157" r:id="rId2"/>
    <p:sldLayoutId id="2147484158" r:id="rId3"/>
    <p:sldLayoutId id="2147484159" r:id="rId4"/>
    <p:sldLayoutId id="2147484160" r:id="rId5"/>
    <p:sldLayoutId id="2147484161" r:id="rId6"/>
    <p:sldLayoutId id="2147484162" r:id="rId7"/>
    <p:sldLayoutId id="2147484163" r:id="rId8"/>
    <p:sldLayoutId id="2147484164" r:id="rId9"/>
    <p:sldLayoutId id="2147484165" r:id="rId10"/>
    <p:sldLayoutId id="2147484166" r:id="rId11"/>
    <p:sldLayoutId id="2147484167" r:id="rId12"/>
    <p:sldLayoutId id="2147484168" r:id="rId1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7505594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75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207008"/>
            <a:ext cx="8639556" cy="172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7909560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4208" y="191077"/>
            <a:ext cx="676656" cy="219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8992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  <p:sldLayoutId id="2147484174" r:id="rId4"/>
    <p:sldLayoutId id="2147484175" r:id="rId5"/>
    <p:sldLayoutId id="2147484176" r:id="rId6"/>
    <p:sldLayoutId id="2147484177" r:id="rId7"/>
    <p:sldLayoutId id="2147484178" r:id="rId8"/>
    <p:sldLayoutId id="2147484179" r:id="rId9"/>
    <p:sldLayoutId id="2147484180" r:id="rId10"/>
    <p:sldLayoutId id="2147484181" r:id="rId11"/>
    <p:sldLayoutId id="2147484182" r:id="rId12"/>
    <p:sldLayoutId id="2147484183" r:id="rId13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24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2200">
          <a:solidFill>
            <a:schemeClr val="bg2"/>
          </a:solidFill>
          <a:latin typeface="+mn-lt"/>
        </a:defRPr>
      </a:lvl2pPr>
      <a:lvl3pPr marL="685800" indent="-1968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2000">
          <a:solidFill>
            <a:schemeClr val="bg2"/>
          </a:solidFill>
          <a:latin typeface="+mn-lt"/>
        </a:defRPr>
      </a:lvl3pPr>
      <a:lvl4pPr marL="971550" marR="0" indent="-241300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tabLst/>
        <a:defRPr sz="2000" baseline="0">
          <a:solidFill>
            <a:schemeClr val="bg2"/>
          </a:solidFill>
          <a:latin typeface="+mn-lt"/>
        </a:defRPr>
      </a:lvl4pPr>
      <a:lvl5pPr marL="1200150" marR="0" indent="-200025" algn="l" defTabSz="914400" rtl="0" eaLnBrk="1" fontAlgn="base" latinLnBrk="0" hangingPunct="1">
        <a:lnSpc>
          <a:spcPct val="90000"/>
        </a:lnSpc>
        <a:spcBef>
          <a:spcPts val="400"/>
        </a:spcBef>
        <a:spcAft>
          <a:spcPts val="0"/>
        </a:spcAft>
        <a:buClr>
          <a:srgbClr val="5C5C5C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20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351183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21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060704"/>
            <a:ext cx="8639556" cy="1257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8641080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black">
          <a:xfrm>
            <a:off x="414198" y="4962527"/>
            <a:ext cx="127118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All-Staff Meeting | July 1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73625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6" r:id="rId1"/>
    <p:sldLayoutId id="2147484187" r:id="rId2"/>
    <p:sldLayoutId id="2147484188" r:id="rId3"/>
    <p:sldLayoutId id="2147484189" r:id="rId4"/>
    <p:sldLayoutId id="2147484190" r:id="rId5"/>
    <p:sldLayoutId id="2147484191" r:id="rId6"/>
    <p:sldLayoutId id="2147484192" r:id="rId7"/>
    <p:sldLayoutId id="2147484193" r:id="rId8"/>
    <p:sldLayoutId id="2147484194" r:id="rId9"/>
    <p:sldLayoutId id="2147484195" r:id="rId10"/>
    <p:sldLayoutId id="2147484196" r:id="rId11"/>
    <p:sldLayoutId id="2147484197" r:id="rId12"/>
    <p:sldLayoutId id="2147484198" r:id="rId13"/>
    <p:sldLayoutId id="2147484199" r:id="rId14"/>
    <p:sldLayoutId id="2147484200" r:id="rId15"/>
    <p:sldLayoutId id="2147484201" r:id="rId16"/>
    <p:sldLayoutId id="2147484202" r:id="rId17"/>
    <p:sldLayoutId id="2147484203" r:id="rId18"/>
    <p:sldLayoutId id="2147484204" r:id="rId19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8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2pPr>
      <a:lvl3pPr marL="658368" indent="-1714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400">
          <a:solidFill>
            <a:schemeClr val="bg2"/>
          </a:solidFill>
          <a:latin typeface="+mn-lt"/>
        </a:defRPr>
      </a:lvl3pPr>
      <a:lvl4pPr marL="877824" indent="-20320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400">
          <a:solidFill>
            <a:schemeClr val="bg2"/>
          </a:solidFill>
          <a:latin typeface="+mn-lt"/>
        </a:defRPr>
      </a:lvl4pPr>
      <a:lvl5pPr marL="1028700" indent="-142875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4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64981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5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060704"/>
            <a:ext cx="8639556" cy="1257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8641080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black">
          <a:xfrm>
            <a:off x="414198" y="4962527"/>
            <a:ext cx="127118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All-Staff Meeting | July 15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817601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6" r:id="rId1"/>
    <p:sldLayoutId id="2147484207" r:id="rId2"/>
    <p:sldLayoutId id="2147484208" r:id="rId3"/>
    <p:sldLayoutId id="2147484209" r:id="rId4"/>
    <p:sldLayoutId id="2147484210" r:id="rId5"/>
    <p:sldLayoutId id="2147484211" r:id="rId6"/>
    <p:sldLayoutId id="2147484212" r:id="rId7"/>
    <p:sldLayoutId id="2147484213" r:id="rId8"/>
    <p:sldLayoutId id="2147484214" r:id="rId9"/>
    <p:sldLayoutId id="2147484215" r:id="rId10"/>
    <p:sldLayoutId id="2147484216" r:id="rId11"/>
    <p:sldLayoutId id="2147484217" r:id="rId12"/>
    <p:sldLayoutId id="2147484218" r:id="rId13"/>
    <p:sldLayoutId id="2147484219" r:id="rId14"/>
    <p:sldLayoutId id="2147484220" r:id="rId15"/>
    <p:sldLayoutId id="2147484221" r:id="rId16"/>
    <p:sldLayoutId id="2147484222" r:id="rId17"/>
    <p:sldLayoutId id="2147484223" r:id="rId18"/>
    <p:sldLayoutId id="2147484224" r:id="rId19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8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2pPr>
      <a:lvl3pPr marL="658368" indent="-1714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400">
          <a:solidFill>
            <a:schemeClr val="bg2"/>
          </a:solidFill>
          <a:latin typeface="+mn-lt"/>
        </a:defRPr>
      </a:lvl3pPr>
      <a:lvl4pPr marL="877824" indent="-20320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400">
          <a:solidFill>
            <a:schemeClr val="bg2"/>
          </a:solidFill>
          <a:latin typeface="+mn-lt"/>
        </a:defRPr>
      </a:lvl4pPr>
      <a:lvl5pPr marL="1028700" indent="-142875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4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blipFill dpi="0" rotWithShape="0">
          <a:blip r:embed="rId2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2807813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10"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00" name="Rectangle 4"/>
          <p:cNvSpPr>
            <a:spLocks noGrp="1" noChangeArrowheads="1"/>
          </p:cNvSpPr>
          <p:nvPr>
            <p:ph type="body" idx="1"/>
          </p:nvPr>
        </p:nvSpPr>
        <p:spPr bwMode="gray">
          <a:xfrm>
            <a:off x="237744" y="1060704"/>
            <a:ext cx="8639556" cy="1257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gray">
          <a:xfrm>
            <a:off x="237743" y="292608"/>
            <a:ext cx="8641080" cy="3662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black">
          <a:xfrm>
            <a:off x="414198" y="4962527"/>
            <a:ext cx="1271182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 All-Staff Meeting | July 28, 2014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black">
          <a:xfrm>
            <a:off x="4237773" y="4962527"/>
            <a:ext cx="668453" cy="10772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en-US" sz="700" dirty="0" smtClean="0">
                <a:solidFill>
                  <a:srgbClr val="5C5C5C"/>
                </a:solidFill>
                <a:latin typeface="Segoe UI"/>
              </a:rPr>
              <a:t>Visa Confidential</a:t>
            </a:r>
            <a:endParaRPr lang="en-US" sz="700" dirty="0">
              <a:solidFill>
                <a:srgbClr val="5C5C5C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50323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  <p:sldLayoutId id="2147484234" r:id="rId9"/>
    <p:sldLayoutId id="2147484235" r:id="rId10"/>
    <p:sldLayoutId id="2147484236" r:id="rId11"/>
    <p:sldLayoutId id="2147484237" r:id="rId12"/>
    <p:sldLayoutId id="2147484238" r:id="rId13"/>
    <p:sldLayoutId id="2147484239" r:id="rId14"/>
    <p:sldLayoutId id="2147484240" r:id="rId15"/>
    <p:sldLayoutId id="2147484241" r:id="rId16"/>
    <p:sldLayoutId id="2147484242" r:id="rId17"/>
    <p:sldLayoutId id="2147484243" r:id="rId18"/>
    <p:sldLayoutId id="2147484244" r:id="rId19"/>
  </p:sldLayoutIdLst>
  <p:transition>
    <p:wipe dir="r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800" b="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5pPr>
      <a:lvl6pPr marL="4081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6pPr>
      <a:lvl7pPr marL="81634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7pPr>
      <a:lvl8pPr marL="122452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8pPr>
      <a:lvl9pPr marL="163269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2"/>
          </a:solidFill>
          <a:latin typeface="Arial" charset="0"/>
        </a:defRPr>
      </a:lvl9pPr>
    </p:titleStyle>
    <p:bodyStyle>
      <a:lvl1pPr marL="204087" indent="-204087" algn="l" rtl="0" eaLnBrk="1" fontAlgn="base" hangingPunct="1">
        <a:lnSpc>
          <a:spcPct val="90000"/>
        </a:lnSpc>
        <a:spcBef>
          <a:spcPts val="1000"/>
        </a:spcBef>
        <a:spcAft>
          <a:spcPts val="0"/>
        </a:spcAft>
        <a:buClr>
          <a:schemeClr val="bg2"/>
        </a:buClr>
        <a:buSzPct val="100000"/>
        <a:buFont typeface="Arial" charset="0"/>
        <a:buChar char="•"/>
        <a:defRPr sz="1800">
          <a:solidFill>
            <a:schemeClr val="bg2"/>
          </a:solidFill>
          <a:latin typeface="+mn-lt"/>
          <a:ea typeface="+mn-ea"/>
          <a:cs typeface="+mn-cs"/>
        </a:defRPr>
      </a:lvl1pPr>
      <a:lvl2pPr marL="460375" indent="-233363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–"/>
        <a:defRPr sz="1600">
          <a:solidFill>
            <a:schemeClr val="bg2"/>
          </a:solidFill>
          <a:latin typeface="+mn-lt"/>
        </a:defRPr>
      </a:lvl2pPr>
      <a:lvl3pPr marL="658368" indent="-17145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Font typeface="Arial" charset="0"/>
        <a:buChar char="•"/>
        <a:defRPr sz="1400">
          <a:solidFill>
            <a:schemeClr val="bg2"/>
          </a:solidFill>
          <a:latin typeface="+mn-lt"/>
        </a:defRPr>
      </a:lvl3pPr>
      <a:lvl4pPr marL="877824" indent="-203200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100000"/>
        <a:buFont typeface="Segoe UI" panose="020B0502040204020203" pitchFamily="34" charset="0"/>
        <a:buChar char="–"/>
        <a:defRPr sz="1400">
          <a:solidFill>
            <a:schemeClr val="bg2"/>
          </a:solidFill>
          <a:latin typeface="+mn-lt"/>
        </a:defRPr>
      </a:lvl4pPr>
      <a:lvl5pPr marL="1028700" indent="-142875" algn="l" rtl="0" eaLnBrk="1" fontAlgn="base" hangingPunct="1">
        <a:lnSpc>
          <a:spcPct val="90000"/>
        </a:lnSpc>
        <a:spcBef>
          <a:spcPts val="400"/>
        </a:spcBef>
        <a:spcAft>
          <a:spcPts val="0"/>
        </a:spcAft>
        <a:buClr>
          <a:schemeClr val="bg2"/>
        </a:buClr>
        <a:buSzPct val="90000"/>
        <a:buFont typeface="Arial" panose="020B0604020202020204" pitchFamily="34" charset="0"/>
        <a:buChar char="•"/>
        <a:tabLst>
          <a:tab pos="1143000" algn="l"/>
        </a:tabLst>
        <a:defRPr sz="1400">
          <a:solidFill>
            <a:schemeClr val="bg2"/>
          </a:solidFill>
          <a:latin typeface="+mn-lt"/>
        </a:defRPr>
      </a:lvl5pPr>
      <a:lvl6pPr marL="2033781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6pPr>
      <a:lvl7pPr marL="2441954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7pPr>
      <a:lvl8pPr marL="2850128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8pPr>
      <a:lvl9pPr marL="3258303" indent="-197001" algn="l" rtl="0" eaLnBrk="1" fontAlgn="base" hangingPunct="1">
        <a:lnSpc>
          <a:spcPct val="95000"/>
        </a:lnSpc>
        <a:spcBef>
          <a:spcPct val="0"/>
        </a:spcBef>
        <a:spcAft>
          <a:spcPct val="30000"/>
        </a:spcAft>
        <a:buClr>
          <a:srgbClr val="FFA000"/>
        </a:buClr>
        <a:buSzPct val="90000"/>
        <a:buFont typeface="Arial" charset="0"/>
        <a:buChar char="–"/>
        <a:defRPr sz="19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73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347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52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69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86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9041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214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388" algn="l" defTabSz="816347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8.xml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 sz="quarter"/>
          </p:nvPr>
        </p:nvSpPr>
        <p:spPr bwMode="black">
          <a:xfrm>
            <a:off x="304800" y="1809750"/>
            <a:ext cx="4334256" cy="1255728"/>
          </a:xfrm>
        </p:spPr>
        <p:txBody>
          <a:bodyPr/>
          <a:lstStyle/>
          <a:p>
            <a:r>
              <a:rPr lang="en-US" dirty="0" smtClean="0"/>
              <a:t>Moldova </a:t>
            </a:r>
            <a:r>
              <a:rPr lang="en-US" dirty="0" err="1" smtClean="0"/>
              <a:t>Agroindbank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Visa’s congratulation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247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3800" y="4860179"/>
            <a:ext cx="1476375" cy="23812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0" y="4860179"/>
            <a:ext cx="1476375" cy="23812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400" y="4862962"/>
            <a:ext cx="1476375" cy="2381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038350"/>
            <a:ext cx="8991600" cy="3351687"/>
          </a:xfrm>
        </p:spPr>
        <p:txBody>
          <a:bodyPr/>
          <a:lstStyle/>
          <a:p>
            <a:r>
              <a:rPr lang="ru-RU" sz="1100" dirty="0"/>
              <a:t>продвижение безналичных </a:t>
            </a:r>
            <a:r>
              <a:rPr lang="ru-RU" sz="1100" dirty="0" smtClean="0"/>
              <a:t>платежей </a:t>
            </a:r>
            <a:r>
              <a:rPr lang="ru-RU" sz="1100" dirty="0"/>
              <a:t>с картами </a:t>
            </a:r>
            <a:r>
              <a:rPr lang="en-US" sz="1100" dirty="0"/>
              <a:t>Visa</a:t>
            </a:r>
            <a:r>
              <a:rPr lang="ru-RU" sz="1100" dirty="0"/>
              <a:t>. Мы были искренне рады вручать ключи от автомобиля победителю </a:t>
            </a:r>
            <a:r>
              <a:rPr lang="ru-RU" sz="1100" dirty="0" smtClean="0"/>
              <a:t>нашей</a:t>
            </a:r>
            <a:r>
              <a:rPr lang="en-US" sz="1100" dirty="0" smtClean="0"/>
              <a:t> </a:t>
            </a:r>
            <a:r>
              <a:rPr lang="ru-RU" sz="1100" dirty="0" smtClean="0"/>
              <a:t>первой национальной </a:t>
            </a:r>
            <a:r>
              <a:rPr lang="ru-RU" sz="1100" dirty="0"/>
              <a:t>кампании в Молдове, которым оказался клиент </a:t>
            </a:r>
            <a:r>
              <a:rPr lang="en-US" sz="1100" dirty="0"/>
              <a:t>Moldova </a:t>
            </a:r>
            <a:r>
              <a:rPr lang="en-US" sz="1100" dirty="0" err="1"/>
              <a:t>Agroindbank</a:t>
            </a:r>
            <a:r>
              <a:rPr lang="ru-RU" sz="1100" dirty="0"/>
              <a:t>!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ru-RU" sz="1100" dirty="0"/>
              <a:t> 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ru-RU" sz="1100" dirty="0"/>
              <a:t>Банк проявляет интерес к реализации инновационных сервисов и продуктов </a:t>
            </a:r>
            <a:r>
              <a:rPr lang="en-US" sz="1100" dirty="0"/>
              <a:t>Visa</a:t>
            </a:r>
            <a:r>
              <a:rPr lang="ru-RU" sz="1100" dirty="0" smtClean="0"/>
              <a:t>, которые  на данный </a:t>
            </a:r>
            <a:r>
              <a:rPr lang="ru-RU" sz="1100" dirty="0"/>
              <a:t>момент востребованы рынком и отвечают последним тенденциям безналичных расчетов в мире, что несомненно радует. 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ru-RU" sz="1100" dirty="0"/>
              <a:t> 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ru-RU" sz="1100" dirty="0"/>
              <a:t>2016 год – год </a:t>
            </a:r>
            <a:r>
              <a:rPr lang="ru-RU" sz="1100" dirty="0" smtClean="0"/>
              <a:t> летних  Олимпийских  </a:t>
            </a:r>
            <a:r>
              <a:rPr lang="ru-RU" sz="1100" dirty="0"/>
              <a:t>игр</a:t>
            </a:r>
            <a:r>
              <a:rPr lang="ru-RU" sz="1100" dirty="0" smtClean="0"/>
              <a:t>,  </a:t>
            </a:r>
            <a:r>
              <a:rPr lang="ru-RU" sz="1100" dirty="0"/>
              <a:t>генеральным </a:t>
            </a:r>
            <a:r>
              <a:rPr lang="ru-RU" sz="1100" dirty="0" smtClean="0"/>
              <a:t> спонсором  которых  с  1986  года   </a:t>
            </a:r>
            <a:r>
              <a:rPr lang="ru-RU" sz="1100" dirty="0"/>
              <a:t>является </a:t>
            </a:r>
            <a:r>
              <a:rPr lang="ru-RU" sz="1100" dirty="0" smtClean="0"/>
              <a:t> </a:t>
            </a:r>
            <a:r>
              <a:rPr lang="en-US" sz="1100" dirty="0" smtClean="0"/>
              <a:t>Visa</a:t>
            </a:r>
            <a:r>
              <a:rPr lang="ru-RU" sz="1100" dirty="0"/>
              <a:t>. </a:t>
            </a:r>
            <a:r>
              <a:rPr lang="ru-RU" sz="1100" dirty="0" smtClean="0"/>
              <a:t> Это </a:t>
            </a:r>
            <a:r>
              <a:rPr lang="ru-RU" sz="1100" dirty="0"/>
              <a:t>один </a:t>
            </a:r>
            <a:r>
              <a:rPr lang="ru-RU" sz="1100" dirty="0" smtClean="0"/>
              <a:t> из  самых </a:t>
            </a:r>
            <a:r>
              <a:rPr lang="ru-RU" sz="1100" dirty="0"/>
              <a:t>ценных спонсорских активов, которым </a:t>
            </a:r>
            <a:r>
              <a:rPr lang="en-US" sz="1100" dirty="0"/>
              <a:t>Visa </a:t>
            </a:r>
            <a:r>
              <a:rPr lang="ru-RU" sz="1100" dirty="0"/>
              <a:t>гордится и который очень ценит. Мы предоставили </a:t>
            </a:r>
            <a:r>
              <a:rPr lang="en-US" sz="1100" dirty="0"/>
              <a:t>Moldova </a:t>
            </a:r>
            <a:r>
              <a:rPr lang="en-US" sz="1100" dirty="0" err="1"/>
              <a:t>Agroindbank</a:t>
            </a:r>
            <a:r>
              <a:rPr lang="ru-RU" sz="1100" dirty="0"/>
              <a:t>, как одному </a:t>
            </a:r>
            <a:r>
              <a:rPr lang="ru-RU" sz="1100" dirty="0" smtClean="0"/>
              <a:t>из  </a:t>
            </a:r>
            <a:r>
              <a:rPr lang="ru-RU" sz="1100" dirty="0"/>
              <a:t>ключевых партнеров </a:t>
            </a:r>
            <a:r>
              <a:rPr lang="en-US" sz="1100" dirty="0"/>
              <a:t>Visa</a:t>
            </a:r>
            <a:r>
              <a:rPr lang="ru-RU" sz="1100" dirty="0"/>
              <a:t> </a:t>
            </a:r>
            <a:r>
              <a:rPr lang="ru-RU" sz="1100" dirty="0" smtClean="0"/>
              <a:t>в  стране,  </a:t>
            </a:r>
            <a:r>
              <a:rPr lang="ru-RU" sz="1100" dirty="0"/>
              <a:t>возможность </a:t>
            </a:r>
            <a:r>
              <a:rPr lang="ru-RU" sz="1100" dirty="0" smtClean="0"/>
              <a:t> использовать  данный  </a:t>
            </a:r>
            <a:r>
              <a:rPr lang="ru-RU" sz="1100" dirty="0"/>
              <a:t>актив </a:t>
            </a:r>
            <a:r>
              <a:rPr lang="ru-RU" sz="1100" dirty="0" smtClean="0"/>
              <a:t> и  </a:t>
            </a:r>
            <a:r>
              <a:rPr lang="ru-RU" sz="1100" dirty="0"/>
              <a:t>участвовать </a:t>
            </a:r>
            <a:r>
              <a:rPr lang="ru-RU" sz="1100" dirty="0" smtClean="0"/>
              <a:t> в </a:t>
            </a:r>
            <a:r>
              <a:rPr lang="ru-RU" sz="1100" dirty="0"/>
              <a:t>совместной олимпийской </a:t>
            </a:r>
            <a:r>
              <a:rPr lang="ru-RU" sz="1100" dirty="0" smtClean="0"/>
              <a:t> инициативе</a:t>
            </a:r>
            <a:r>
              <a:rPr lang="ru-RU" sz="1100" dirty="0"/>
              <a:t>, которая </a:t>
            </a:r>
            <a:r>
              <a:rPr lang="ru-RU" sz="1100" dirty="0" smtClean="0"/>
              <a:t>позволит  увеличить   </a:t>
            </a:r>
            <a:r>
              <a:rPr lang="ru-RU" sz="1100" dirty="0"/>
              <a:t>активность </a:t>
            </a:r>
            <a:r>
              <a:rPr lang="ru-RU" sz="1100" dirty="0" smtClean="0"/>
              <a:t> клиентов   банка  и   стимулировать  </a:t>
            </a:r>
            <a:r>
              <a:rPr lang="ru-RU" sz="1100" dirty="0"/>
              <a:t>безналичные </a:t>
            </a:r>
            <a:r>
              <a:rPr lang="ru-RU" sz="1100" dirty="0" smtClean="0"/>
              <a:t>  платежи  </a:t>
            </a:r>
            <a:r>
              <a:rPr lang="ru-RU" sz="1100" dirty="0"/>
              <a:t>с </a:t>
            </a:r>
            <a:r>
              <a:rPr lang="ru-RU" sz="1100" dirty="0" smtClean="0"/>
              <a:t> картами  </a:t>
            </a:r>
            <a:r>
              <a:rPr lang="en-US" sz="1100" dirty="0"/>
              <a:t>Visa</a:t>
            </a:r>
            <a:r>
              <a:rPr lang="ru-RU" sz="1100" dirty="0"/>
              <a:t>.  Также</a:t>
            </a:r>
            <a:r>
              <a:rPr lang="ru-RU" sz="1100" dirty="0" smtClean="0"/>
              <a:t>,  </a:t>
            </a:r>
            <a:r>
              <a:rPr lang="ru-RU" sz="1100" dirty="0"/>
              <a:t>это </a:t>
            </a:r>
            <a:r>
              <a:rPr lang="ru-RU" sz="1100" dirty="0" smtClean="0"/>
              <a:t> уникальная </a:t>
            </a:r>
            <a:r>
              <a:rPr lang="ru-RU" sz="1100" dirty="0"/>
              <a:t>возможность для держателя карты выиграть главный приз – путевку на Олимпиаду в Рио, Бразилия.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ru-RU" sz="1100" dirty="0"/>
              <a:t> 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ru-RU" sz="1100" dirty="0" smtClean="0"/>
              <a:t>Дорогие   коллеги</a:t>
            </a:r>
            <a:r>
              <a:rPr lang="ru-RU" sz="1100" dirty="0"/>
              <a:t>, </a:t>
            </a:r>
            <a:r>
              <a:rPr lang="ru-RU" sz="1100" dirty="0" smtClean="0"/>
              <a:t>  мы   надеемся</a:t>
            </a:r>
            <a:r>
              <a:rPr lang="ru-RU" sz="1100" dirty="0"/>
              <a:t>, </a:t>
            </a:r>
            <a:r>
              <a:rPr lang="ru-RU" sz="1100" dirty="0" smtClean="0"/>
              <a:t>  что   достигнутый    уровень   благоприятного   и   </a:t>
            </a:r>
            <a:r>
              <a:rPr lang="ru-RU" sz="1100" dirty="0"/>
              <a:t>позитивного </a:t>
            </a:r>
            <a:r>
              <a:rPr lang="ru-RU" sz="1100" dirty="0" smtClean="0"/>
              <a:t> сотрудничества  позволит   </a:t>
            </a:r>
            <a:r>
              <a:rPr lang="ru-RU" sz="1100" dirty="0"/>
              <a:t>нашим организациям реализовать в ближайшем будущем немало новых интересных и эффективных проектов.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ru-RU" sz="1100" dirty="0" smtClean="0"/>
              <a:t>Мы </a:t>
            </a:r>
            <a:r>
              <a:rPr lang="ru-RU" sz="1100" dirty="0"/>
              <a:t>желаем </a:t>
            </a:r>
            <a:r>
              <a:rPr lang="en-US" sz="1100" dirty="0"/>
              <a:t>Moldova </a:t>
            </a:r>
            <a:r>
              <a:rPr lang="en-US" sz="1100" dirty="0" err="1"/>
              <a:t>Agroindbank</a:t>
            </a:r>
            <a:r>
              <a:rPr lang="ru-RU" sz="1100" dirty="0"/>
              <a:t> приумножать свои лидерские позиции на рынке и совместно с </a:t>
            </a:r>
            <a:r>
              <a:rPr lang="en-US" sz="1100" dirty="0"/>
              <a:t>Visa </a:t>
            </a:r>
            <a:r>
              <a:rPr lang="ru-RU" sz="1100" dirty="0"/>
              <a:t>встретить новый юбилей!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ru-RU" sz="1100" dirty="0"/>
              <a:t> </a:t>
            </a:r>
            <a:r>
              <a:rPr lang="ru-RU" sz="1100" dirty="0" smtClean="0"/>
              <a:t/>
            </a:r>
            <a:br>
              <a:rPr lang="ru-RU" sz="1100" dirty="0" smtClean="0"/>
            </a:br>
            <a:r>
              <a:rPr lang="ru-RU" sz="1100" dirty="0" smtClean="0"/>
              <a:t>С </a:t>
            </a:r>
            <a:r>
              <a:rPr lang="ru-RU" sz="1100" dirty="0"/>
              <a:t>уважением и наилучшими пожеланиями</a:t>
            </a:r>
            <a:r>
              <a:rPr lang="ru-RU" sz="1100" dirty="0" smtClean="0"/>
              <a:t>,</a:t>
            </a:r>
            <a:br>
              <a:rPr lang="ru-RU" sz="1100" dirty="0" smtClean="0"/>
            </a:br>
            <a:r>
              <a:rPr lang="en-US" sz="1100" dirty="0"/>
              <a:t/>
            </a:r>
            <a:br>
              <a:rPr lang="en-US" sz="1100" dirty="0"/>
            </a:br>
            <a:r>
              <a:rPr lang="ru-RU" sz="1100" b="1" dirty="0"/>
              <a:t>Игорь Ковалев</a:t>
            </a:r>
            <a:r>
              <a:rPr lang="en-US" sz="1100" b="1" dirty="0"/>
              <a:t/>
            </a:r>
            <a:br>
              <a:rPr lang="en-US" sz="1100" b="1" dirty="0"/>
            </a:br>
            <a:r>
              <a:rPr lang="ru-RU" sz="1100" b="1" dirty="0"/>
              <a:t>Региональный менеджер компании </a:t>
            </a:r>
            <a:r>
              <a:rPr lang="en-US" sz="1100" b="1" dirty="0"/>
              <a:t>Visa </a:t>
            </a:r>
            <a:r>
              <a:rPr lang="ru-RU" sz="1100" b="1" dirty="0" smtClean="0"/>
              <a:t>в </a:t>
            </a:r>
            <a:r>
              <a:rPr lang="ru-RU" sz="1100" b="1" dirty="0"/>
              <a:t>Молдове, Азербайджане и Республике Беларусь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en-US" sz="1100" dirty="0"/>
              <a:t/>
            </a:r>
            <a:br>
              <a:rPr lang="en-US" sz="1100" dirty="0"/>
            </a:br>
            <a:endParaRPr lang="en-US" sz="11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8348"/>
            <a:ext cx="2743200" cy="1828616"/>
          </a:xfrm>
          <a:prstGeom prst="rect">
            <a:avLst/>
          </a:prstGeom>
        </p:spPr>
      </p:pic>
      <p:sp>
        <p:nvSpPr>
          <p:cNvPr id="5" name="Title 6"/>
          <p:cNvSpPr txBox="1">
            <a:spLocks/>
          </p:cNvSpPr>
          <p:nvPr/>
        </p:nvSpPr>
        <p:spPr bwMode="gray">
          <a:xfrm>
            <a:off x="2895600" y="209550"/>
            <a:ext cx="6096000" cy="1980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>
                <a:solidFill>
                  <a:schemeClr val="tx2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5pPr>
            <a:lvl6pPr marL="408173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6pPr>
            <a:lvl7pPr marL="816347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7pPr>
            <a:lvl8pPr marL="1224521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8pPr>
            <a:lvl9pPr marL="163269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7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100" b="1" kern="0" dirty="0" smtClean="0"/>
              <a:t>Уважаемые коллеги, друзья!</a:t>
            </a:r>
            <a:r>
              <a:rPr lang="en-US" sz="1100" b="1" kern="0" dirty="0" smtClean="0"/>
              <a:t/>
            </a:r>
            <a:br>
              <a:rPr lang="en-US" sz="1100" b="1" kern="0" dirty="0" smtClean="0"/>
            </a:br>
            <a:r>
              <a:rPr lang="ru-RU" sz="1100" kern="0" dirty="0" smtClean="0"/>
              <a:t> </a:t>
            </a:r>
            <a:r>
              <a:rPr lang="en-US" sz="1100" kern="0" dirty="0" smtClean="0"/>
              <a:t/>
            </a:r>
            <a:br>
              <a:rPr lang="en-US" sz="1100" kern="0" dirty="0" smtClean="0"/>
            </a:br>
            <a:r>
              <a:rPr lang="ru-RU" sz="1100" kern="0" dirty="0" smtClean="0"/>
              <a:t>Компания </a:t>
            </a:r>
            <a:r>
              <a:rPr lang="en-US" sz="1100" kern="0" dirty="0" smtClean="0"/>
              <a:t>Visa </a:t>
            </a:r>
            <a:r>
              <a:rPr lang="ru-RU" sz="1100" kern="0" dirty="0" smtClean="0"/>
              <a:t>поздравляет </a:t>
            </a:r>
            <a:r>
              <a:rPr lang="en-US" sz="1100" kern="0" dirty="0" smtClean="0"/>
              <a:t>Moldova </a:t>
            </a:r>
            <a:r>
              <a:rPr lang="en-US" sz="1100" kern="0" dirty="0" err="1" smtClean="0"/>
              <a:t>Agroindbank</a:t>
            </a:r>
            <a:r>
              <a:rPr lang="ru-RU" sz="1100" kern="0" dirty="0" smtClean="0"/>
              <a:t>, нашего  значимого партнера  в  Молдове, с 25 - </a:t>
            </a:r>
            <a:r>
              <a:rPr lang="ru-RU" sz="1100" kern="0" dirty="0" err="1" smtClean="0"/>
              <a:t>летием</a:t>
            </a:r>
            <a:r>
              <a:rPr lang="ru-RU" sz="1100" kern="0" dirty="0" smtClean="0"/>
              <a:t>  со  дня  основания  банка!  Это  прекрасное  событие и знаменательный юбилей, которые свидетельствует об успешности и эффективности банка и его руководства в целом.</a:t>
            </a:r>
            <a:r>
              <a:rPr lang="en-US" sz="1100" kern="0" dirty="0" smtClean="0"/>
              <a:t/>
            </a:r>
            <a:br>
              <a:rPr lang="en-US" sz="1100" kern="0" dirty="0" smtClean="0"/>
            </a:br>
            <a:r>
              <a:rPr lang="ru-RU" sz="1100" kern="0" dirty="0" smtClean="0"/>
              <a:t> </a:t>
            </a:r>
            <a:r>
              <a:rPr lang="en-US" sz="1100" kern="0" dirty="0" smtClean="0"/>
              <a:t/>
            </a:r>
            <a:br>
              <a:rPr lang="en-US" sz="1100" kern="0" dirty="0" smtClean="0"/>
            </a:br>
            <a:r>
              <a:rPr lang="ru-RU" sz="1100" kern="0" dirty="0" smtClean="0"/>
              <a:t>Сотрудничество  наших  организаций  началось в 2003 году  и  вот уже более 10  лет является примером    благоприятного,    эффективного   и    успешного    бизнеса,    основанного    на взаимоуважении  и  высоком уровне  партнерства.</a:t>
            </a:r>
            <a:endParaRPr lang="en-US" sz="1100" kern="0" dirty="0" smtClean="0"/>
          </a:p>
          <a:p>
            <a:endParaRPr lang="en-US" sz="1100" dirty="0" smtClean="0"/>
          </a:p>
          <a:p>
            <a:pPr algn="just"/>
            <a:r>
              <a:rPr lang="ru-RU" sz="1100" dirty="0" smtClean="0"/>
              <a:t>Мы </a:t>
            </a:r>
            <a:r>
              <a:rPr lang="ru-RU" sz="1100" dirty="0"/>
              <a:t>хотели бы отметить весомый вклад </a:t>
            </a:r>
            <a:r>
              <a:rPr lang="en-US" sz="1100" dirty="0"/>
              <a:t>Moldova </a:t>
            </a:r>
            <a:r>
              <a:rPr lang="en-US" sz="1100" dirty="0" err="1"/>
              <a:t>Agroindbank</a:t>
            </a:r>
            <a:r>
              <a:rPr lang="ru-RU" sz="1100" dirty="0"/>
              <a:t> в развитие рынка безналичных платежей в Молдове</a:t>
            </a:r>
            <a:r>
              <a:rPr lang="ru-RU" sz="1100" dirty="0" smtClean="0"/>
              <a:t>.</a:t>
            </a:r>
            <a:r>
              <a:rPr lang="en-US" sz="1100" dirty="0" smtClean="0"/>
              <a:t> </a:t>
            </a:r>
            <a:r>
              <a:rPr lang="ru-RU" sz="1100" dirty="0"/>
              <a:t>Банк активно участвует в инициативах </a:t>
            </a:r>
            <a:r>
              <a:rPr lang="en-US" sz="1100" dirty="0"/>
              <a:t>Visa</a:t>
            </a:r>
            <a:r>
              <a:rPr lang="ru-RU" sz="1100" dirty="0"/>
              <a:t>, направленных </a:t>
            </a:r>
            <a:r>
              <a:rPr lang="ru-RU" sz="1100" dirty="0" smtClean="0"/>
              <a:t>на</a:t>
            </a:r>
            <a:r>
              <a:rPr lang="en-US" sz="1100" kern="0" dirty="0" smtClean="0"/>
              <a:t/>
            </a:r>
            <a:br>
              <a:rPr lang="en-US" sz="1100" kern="0" dirty="0" smtClean="0"/>
            </a:br>
            <a:r>
              <a:rPr lang="ru-RU" sz="1100" kern="0" dirty="0" smtClean="0"/>
              <a:t> </a:t>
            </a:r>
            <a:endParaRPr lang="en-US" sz="1100" kern="0" dirty="0"/>
          </a:p>
        </p:txBody>
      </p:sp>
    </p:spTree>
    <p:extLst>
      <p:ext uri="{BB962C8B-B14F-4D97-AF65-F5344CB8AC3E}">
        <p14:creationId xmlns:p14="http://schemas.microsoft.com/office/powerpoint/2010/main" val="184566308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x9_Visa_Presentation_Template_POTX_V2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10.xml><?xml version="1.0" encoding="utf-8"?>
<a:theme xmlns:a="http://schemas.openxmlformats.org/drawingml/2006/main" name="MCINERNEY SLIDES">
  <a:themeElements>
    <a:clrScheme name="Visa 2013 Event Template">
      <a:dk1>
        <a:srgbClr val="000000"/>
      </a:dk1>
      <a:lt1>
        <a:srgbClr val="FFFFFF"/>
      </a:lt1>
      <a:dk2>
        <a:srgbClr val="012169"/>
      </a:dk2>
      <a:lt2>
        <a:srgbClr val="5C5C5C"/>
      </a:lt2>
      <a:accent1>
        <a:srgbClr val="0033A0"/>
      </a:accent1>
      <a:accent2>
        <a:srgbClr val="0066B2"/>
      </a:accent2>
      <a:accent3>
        <a:srgbClr val="F2A900"/>
      </a:accent3>
      <a:accent4>
        <a:srgbClr val="FFC600"/>
      </a:accent4>
      <a:accent5>
        <a:srgbClr val="ED8B00"/>
      </a:accent5>
      <a:accent6>
        <a:srgbClr val="D2D2D2"/>
      </a:accent6>
      <a:hlink>
        <a:srgbClr val="FBA61C"/>
      </a:hlink>
      <a:folHlink>
        <a:srgbClr val="F6892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1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60"/>
          </a:spcBef>
          <a:spcAft>
            <a:spcPts val="660"/>
          </a:spcAft>
          <a:buClrTx/>
          <a:buSzTx/>
          <a:buFontTx/>
          <a:buNone/>
          <a:tabLst/>
          <a:defRPr kumimoji="0" sz="1800" b="0" i="0" u="none" strike="noStrike" cap="none" normalizeH="0" baseline="0" dirty="0" err="1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0023A0"/>
        </a:dk2>
        <a:lt2>
          <a:srgbClr val="BCBCBC"/>
        </a:lt2>
        <a:accent1>
          <a:srgbClr val="667BC6"/>
        </a:accent1>
        <a:accent2>
          <a:srgbClr val="B2BDE3"/>
        </a:accent2>
        <a:accent3>
          <a:srgbClr val="FFA000"/>
        </a:accent3>
        <a:accent4>
          <a:srgbClr val="FFC666"/>
        </a:accent4>
        <a:accent5>
          <a:srgbClr val="FFE3B2"/>
        </a:accent5>
        <a:accent6>
          <a:srgbClr val="0023A0"/>
        </a:accent6>
        <a:hlink>
          <a:srgbClr val="FFA000"/>
        </a:hlink>
        <a:folHlink>
          <a:srgbClr val="FFC6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MasterCard">
      <a:srgbClr val="B90000"/>
    </a:custClr>
    <a:custClr name="Amex">
      <a:srgbClr val="008746"/>
    </a:custClr>
    <a:custClr name="Teal">
      <a:srgbClr val="0099CC"/>
    </a:custClr>
    <a:custClr name="Purple">
      <a:srgbClr val="70008A"/>
    </a:custClr>
    <a:custClr name="60% Gray">
      <a:srgbClr val="808080"/>
    </a:custClr>
    <a:custClr name="30% Gray">
      <a:srgbClr val="EAEAEA"/>
    </a:custClr>
  </a:custClrLst>
</a:theme>
</file>

<file path=ppt/theme/theme11.xml><?xml version="1.0" encoding="utf-8"?>
<a:theme xmlns:a="http://schemas.openxmlformats.org/drawingml/2006/main" name="4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12.xml><?xml version="1.0" encoding="utf-8"?>
<a:theme xmlns:a="http://schemas.openxmlformats.org/drawingml/2006/main" name="5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13.xml><?xml version="1.0" encoding="utf-8"?>
<a:theme xmlns:a="http://schemas.openxmlformats.org/drawingml/2006/main" name="6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14.xml><?xml version="1.0" encoding="utf-8"?>
<a:theme xmlns:a="http://schemas.openxmlformats.org/drawingml/2006/main" name="7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15.xml><?xml version="1.0" encoding="utf-8"?>
<a:theme xmlns:a="http://schemas.openxmlformats.org/drawingml/2006/main" name="4_16x9_Visa_Presentation_Template_POTX_V2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16.xml><?xml version="1.0" encoding="utf-8"?>
<a:theme xmlns:a="http://schemas.openxmlformats.org/drawingml/2006/main" name="5_16x9_Visa_Presentation_Template_POTX_V2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17.xml><?xml version="1.0" encoding="utf-8"?>
<a:theme xmlns:a="http://schemas.openxmlformats.org/drawingml/2006/main" name="7_16x9_Visa_Presentation_Template_POTX_V2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18.xml><?xml version="1.0" encoding="utf-8"?>
<a:theme xmlns:a="http://schemas.openxmlformats.org/drawingml/2006/main" name="6_16x9_Visa_Presentation_Template_POTX_V2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19.xml><?xml version="1.0" encoding="utf-8"?>
<a:theme xmlns:a="http://schemas.openxmlformats.org/drawingml/2006/main" name="8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2.xml><?xml version="1.0" encoding="utf-8"?>
<a:theme xmlns:a="http://schemas.openxmlformats.org/drawingml/2006/main" name="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20.xml><?xml version="1.0" encoding="utf-8"?>
<a:theme xmlns:a="http://schemas.openxmlformats.org/drawingml/2006/main" name="9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21.xml><?xml version="1.0" encoding="utf-8"?>
<a:theme xmlns:a="http://schemas.openxmlformats.org/drawingml/2006/main" name="10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22.xml><?xml version="1.0" encoding="utf-8"?>
<a:theme xmlns:a="http://schemas.openxmlformats.org/drawingml/2006/main" name="11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23.xml><?xml version="1.0" encoding="utf-8"?>
<a:theme xmlns:a="http://schemas.openxmlformats.org/drawingml/2006/main" name="12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24.xml><?xml version="1.0" encoding="utf-8"?>
<a:theme xmlns:a="http://schemas.openxmlformats.org/drawingml/2006/main" name="13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25.xml><?xml version="1.0" encoding="utf-8"?>
<a:theme xmlns:a="http://schemas.openxmlformats.org/drawingml/2006/main" name="14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26.xml><?xml version="1.0" encoding="utf-8"?>
<a:theme xmlns:a="http://schemas.openxmlformats.org/drawingml/2006/main" name="15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27.xml><?xml version="1.0" encoding="utf-8"?>
<a:theme xmlns:a="http://schemas.openxmlformats.org/drawingml/2006/main" name="16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28.xml><?xml version="1.0" encoding="utf-8"?>
<a:theme xmlns:a="http://schemas.openxmlformats.org/drawingml/2006/main" name="17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29.xml><?xml version="1.0" encoding="utf-8"?>
<a:theme xmlns:a="http://schemas.openxmlformats.org/drawingml/2006/main" name="18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3.xml><?xml version="1.0" encoding="utf-8"?>
<a:theme xmlns:a="http://schemas.openxmlformats.org/drawingml/2006/main" name="Visa Data Rich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tIns="91440" bIns="91440" rtlCol="0" anchor="ctr" anchorCtr="1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30.xml><?xml version="1.0" encoding="utf-8"?>
<a:theme xmlns:a="http://schemas.openxmlformats.org/drawingml/2006/main" name="19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31.xml><?xml version="1.0" encoding="utf-8"?>
<a:theme xmlns:a="http://schemas.openxmlformats.org/drawingml/2006/main" name="20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32.xml><?xml version="1.0" encoding="utf-8"?>
<a:theme xmlns:a="http://schemas.openxmlformats.org/drawingml/2006/main" name="21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33.xml><?xml version="1.0" encoding="utf-8"?>
<a:theme xmlns:a="http://schemas.openxmlformats.org/drawingml/2006/main" name="22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34.xml><?xml version="1.0" encoding="utf-8"?>
<a:theme xmlns:a="http://schemas.openxmlformats.org/drawingml/2006/main" name="Office Theme">
  <a:themeElements>
    <a:clrScheme name="Visa theme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Custom 4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5.xml><?xml version="1.0" encoding="utf-8"?>
<a:theme xmlns:a="http://schemas.openxmlformats.org/drawingml/2006/main" name="Office Theme">
  <a:themeElements>
    <a:clrScheme name="Visa theme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Custom 4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5.xml><?xml version="1.0" encoding="utf-8"?>
<a:theme xmlns:a="http://schemas.openxmlformats.org/drawingml/2006/main" name="2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6.xml><?xml version="1.0" encoding="utf-8"?>
<a:theme xmlns:a="http://schemas.openxmlformats.org/drawingml/2006/main" name="3_Visa Event Template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ctr" anchorCtr="1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60"/>
          </a:spcBef>
          <a:spcAft>
            <a:spcPts val="66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7.xml><?xml version="1.0" encoding="utf-8"?>
<a:theme xmlns:a="http://schemas.openxmlformats.org/drawingml/2006/main" name="1_16x9_Visa_Presentation_Template_POTX_V2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8.xml><?xml version="1.0" encoding="utf-8"?>
<a:theme xmlns:a="http://schemas.openxmlformats.org/drawingml/2006/main" name="2_16x9_Visa_Presentation_Template_POTX_V2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ppt/theme/theme9.xml><?xml version="1.0" encoding="utf-8"?>
<a:theme xmlns:a="http://schemas.openxmlformats.org/drawingml/2006/main" name="3_16x9_Visa_Presentation_Template_POTX_V2">
  <a:themeElements>
    <a:clrScheme name="Visa Inc.">
      <a:dk1>
        <a:srgbClr val="000000"/>
      </a:dk1>
      <a:lt1>
        <a:srgbClr val="FFFFFF"/>
      </a:lt1>
      <a:dk2>
        <a:srgbClr val="1A1F71"/>
      </a:dk2>
      <a:lt2>
        <a:srgbClr val="5C5C5C"/>
      </a:lt2>
      <a:accent1>
        <a:srgbClr val="003EA9"/>
      </a:accent1>
      <a:accent2>
        <a:srgbClr val="0065EA"/>
      </a:accent2>
      <a:accent3>
        <a:srgbClr val="F7B600"/>
      </a:accent3>
      <a:accent4>
        <a:srgbClr val="FFD700"/>
      </a:accent4>
      <a:accent5>
        <a:srgbClr val="EF8400"/>
      </a:accent5>
      <a:accent6>
        <a:srgbClr val="75787B"/>
      </a:accent6>
      <a:hlink>
        <a:srgbClr val="F7B600"/>
      </a:hlink>
      <a:folHlink>
        <a:srgbClr val="EF8400"/>
      </a:folHlink>
    </a:clrScheme>
    <a:fontScheme name="Visa 2013 Event Templat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635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91440" rIns="91440" bIns="9144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0" fontAlgn="base" latinLnBrk="0" hangingPunct="0">
          <a:lnSpc>
            <a:spcPct val="90000"/>
          </a:lnSpc>
          <a:spcBef>
            <a:spcPts val="60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12700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2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tIns="91440" bIns="91440" rtlCol="0" anchor="ctr" anchorCtr="0">
        <a:spAutoFit/>
      </a:bodyPr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Visa Inc.">
        <a:dk1>
          <a:srgbClr val="000000"/>
        </a:dk1>
        <a:lt1>
          <a:srgbClr val="FFFFFF"/>
        </a:lt1>
        <a:dk2>
          <a:srgbClr val="1A1F71"/>
        </a:dk2>
        <a:lt2>
          <a:srgbClr val="5C5C5C"/>
        </a:lt2>
        <a:accent1>
          <a:srgbClr val="003EA9"/>
        </a:accent1>
        <a:accent2>
          <a:srgbClr val="0065EA"/>
        </a:accent2>
        <a:accent3>
          <a:srgbClr val="F7B600"/>
        </a:accent3>
        <a:accent4>
          <a:srgbClr val="FFD700"/>
        </a:accent4>
        <a:accent5>
          <a:srgbClr val="EF8400"/>
        </a:accent5>
        <a:accent6>
          <a:srgbClr val="75787B"/>
        </a:accent6>
        <a:hlink>
          <a:srgbClr val="F7B600"/>
        </a:hlink>
        <a:folHlink>
          <a:srgbClr val="F6892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BerryFlat">
      <a:srgbClr val="A5225E"/>
    </a:custClr>
    <a:custClr name="CanopyFlat">
      <a:srgbClr val="0C7D34"/>
    </a:custClr>
    <a:custClr name="DaylightFlat">
      <a:srgbClr val="6ECCF6"/>
    </a:custClr>
    <a:custClr name="TwilightFlat">
      <a:srgbClr val="602D62"/>
    </a:custClr>
    <a:custClr name="BeachFlat">
      <a:srgbClr val="B7A78B"/>
    </a:custClr>
    <a:custClr name="TideFlat">
      <a:srgbClr val="61BF9D"/>
    </a:custClr>
    <a:custClr name="GrassFlat">
      <a:srgbClr val="85BD43"/>
    </a:custClr>
    <a:custClr name="ClayFlat">
      <a:srgbClr val="D14A1F"/>
    </a:custClr>
    <a:custClr name="White">
      <a:srgbClr val="FFFFFF"/>
    </a:custClr>
    <a:custClr name="White">
      <a:srgbClr val="FFFFFF"/>
    </a:custClr>
    <a:custClr name="PrimaryBlueGradient1">
      <a:srgbClr val="1A1E5A"/>
    </a:custClr>
    <a:custClr name="PrimaryBlueGradient2">
      <a:srgbClr val="122D98"/>
    </a:custClr>
    <a:custClr name="PrimaryGoldGradient1">
      <a:srgbClr val="FA9B00"/>
    </a:custClr>
    <a:custClr name="PrimaryGoldGradient2">
      <a:srgbClr val="F4CA12"/>
    </a:custClr>
    <a:custClr name="OverlapBlueGradient1">
      <a:srgbClr val="00329E"/>
    </a:custClr>
    <a:custClr name="OverlapBlueGradient2">
      <a:srgbClr val="0050B9"/>
    </a:custClr>
    <a:custClr name="OverlapOrangeGradient1">
      <a:srgbClr val="F26800"/>
    </a:custClr>
    <a:custClr name="OverlapOrangeGradient2">
      <a:srgbClr val="FA9800"/>
    </a:custClr>
    <a:custClr name="OverlapYellowGradient1">
      <a:srgbClr val="FFCB00"/>
    </a:custClr>
    <a:custClr name="OverlapYellowGradient2">
      <a:srgbClr val="FBE112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F7B33E448C1384198ACAEE752A935FF" ma:contentTypeVersion="0" ma:contentTypeDescription="Create a new document." ma:contentTypeScope="" ma:versionID="5e63371c50a8ab97e46c59abd00b552d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E850B79-6921-4128-B9C6-EE7FAB79B4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507912D-FD92-4EC3-9AAD-1F4B379DEC6E}">
  <ds:schemaRefs>
    <ds:schemaRef ds:uri="http://purl.org/dc/dcmitype/"/>
    <ds:schemaRef ds:uri="http://purl.org/dc/terms/"/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www.w3.org/XML/1998/namespace"/>
    <ds:schemaRef ds:uri="http://schemas.openxmlformats.org/package/2006/metadata/core-properties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8060909-969A-44A6-AE1F-00EF54D015B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x9_Visa_Presentation_Template_POTX_V2</Template>
  <TotalTime>5573</TotalTime>
  <Words>38</Words>
  <Application>Microsoft Office PowerPoint</Application>
  <PresentationFormat>On-screen Show (16:9)</PresentationFormat>
  <Paragraphs>7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39" baseType="lpstr">
      <vt:lpstr>Arial</vt:lpstr>
      <vt:lpstr>Segoe UI</vt:lpstr>
      <vt:lpstr>Myriad Pro</vt:lpstr>
      <vt:lpstr>16x9_Visa_Presentation_Template_POTX_V2</vt:lpstr>
      <vt:lpstr>Visa Event Template</vt:lpstr>
      <vt:lpstr>Visa Data Rich Template</vt:lpstr>
      <vt:lpstr>1_Visa Event Template</vt:lpstr>
      <vt:lpstr>2_Visa Event Template</vt:lpstr>
      <vt:lpstr>3_Visa Event Template</vt:lpstr>
      <vt:lpstr>1_16x9_Visa_Presentation_Template_POTX_V2</vt:lpstr>
      <vt:lpstr>2_16x9_Visa_Presentation_Template_POTX_V2</vt:lpstr>
      <vt:lpstr>3_16x9_Visa_Presentation_Template_POTX_V2</vt:lpstr>
      <vt:lpstr>MCINERNEY SLIDES</vt:lpstr>
      <vt:lpstr>4_Visa Event Template</vt:lpstr>
      <vt:lpstr>5_Visa Event Template</vt:lpstr>
      <vt:lpstr>6_Visa Event Template</vt:lpstr>
      <vt:lpstr>7_Visa Event Template</vt:lpstr>
      <vt:lpstr>4_16x9_Visa_Presentation_Template_POTX_V2</vt:lpstr>
      <vt:lpstr>5_16x9_Visa_Presentation_Template_POTX_V2</vt:lpstr>
      <vt:lpstr>7_16x9_Visa_Presentation_Template_POTX_V2</vt:lpstr>
      <vt:lpstr>6_16x9_Visa_Presentation_Template_POTX_V2</vt:lpstr>
      <vt:lpstr>8_Visa Event Template</vt:lpstr>
      <vt:lpstr>9_Visa Event Template</vt:lpstr>
      <vt:lpstr>10_Visa Event Template</vt:lpstr>
      <vt:lpstr>11_Visa Event Template</vt:lpstr>
      <vt:lpstr>12_Visa Event Template</vt:lpstr>
      <vt:lpstr>13_Visa Event Template</vt:lpstr>
      <vt:lpstr>14_Visa Event Template</vt:lpstr>
      <vt:lpstr>15_Visa Event Template</vt:lpstr>
      <vt:lpstr>16_Visa Event Template</vt:lpstr>
      <vt:lpstr>17_Visa Event Template</vt:lpstr>
      <vt:lpstr>18_Visa Event Template</vt:lpstr>
      <vt:lpstr>19_Visa Event Template</vt:lpstr>
      <vt:lpstr>20_Visa Event Template</vt:lpstr>
      <vt:lpstr>21_Visa Event Template</vt:lpstr>
      <vt:lpstr>22_Visa Event Template</vt:lpstr>
      <vt:lpstr>think-cell Slide</vt:lpstr>
      <vt:lpstr>Moldova Agroindbank  Visa’s congratulations</vt:lpstr>
      <vt:lpstr>продвижение безналичных платежей с картами Visa. Мы были искренне рады вручать ключи от автомобиля победителю нашей первой национальной кампании в Молдове, которым оказался клиент Moldova Agroindbank!   Банк проявляет интерес к реализации инновационных сервисов и продуктов Visa, которые  на данный момент востребованы рынком и отвечают последним тенденциям безналичных расчетов в мире, что несомненно радует.    2016 год – год  летних  Олимпийских  игр,  генеральным  спонсором  которых  с  1986  года   является  Visa.  Это один  из  самых ценных спонсорских активов, которым Visa гордится и который очень ценит. Мы предоставили Moldova Agroindbank, как одному из  ключевых партнеров Visa в  стране,  возможность  использовать  данный  актив  и  участвовать  в совместной олимпийской  инициативе, которая позволит  увеличить   активность  клиентов   банка  и   стимулировать  безналичные   платежи  с  картами  Visa.  Также,  это  уникальная возможность для держателя карты выиграть главный приз – путевку на Олимпиаду в Рио, Бразилия.   Дорогие   коллеги,   мы   надеемся,   что   достигнутый    уровень   благоприятного   и   позитивного  сотрудничества  позволит   нашим организациям реализовать в ближайшем будущем немало новых интересных и эффективных проектов. Мы желаем Moldova Agroindbank приумножать свои лидерские позиции на рынке и совместно с Visa встретить новый юбилей!   С уважением и наилучшими пожеланиями,  Игорь Ковалев Региональный менеджер компании Visa в Молдове, Азербайджане и Республике Беларусь  </vt:lpstr>
    </vt:vector>
  </TitlesOfParts>
  <Company>Visa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a presentation templates</dc:title>
  <dc:creator>Kuperman, Jennifer</dc:creator>
  <cp:keywords>Visa Corporation Presentation Template</cp:keywords>
  <cp:lastModifiedBy>user</cp:lastModifiedBy>
  <cp:revision>618</cp:revision>
  <cp:lastPrinted>2014-11-06T01:22:35Z</cp:lastPrinted>
  <dcterms:created xsi:type="dcterms:W3CDTF">2014-03-03T17:48:02Z</dcterms:created>
  <dcterms:modified xsi:type="dcterms:W3CDTF">2016-04-08T08:29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F7B33E448C1384198ACAEE752A935FF</vt:lpwstr>
  </property>
</Properties>
</file>